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slides/slide47.xml" ContentType="application/vnd.openxmlformats-officedocument.presentationml.slide+xml"/>
  <Override PartName="/ppt/notesSlides/notesSlide2.xml" ContentType="application/vnd.openxmlformats-officedocument.presentationml.notesSlide+xml"/>
  <Override PartName="/ppt/diagrams/drawing2.xml" ContentType="application/vnd.ms-office.drawingml.diagramDrawing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diagrams/quickStyle2.xml" ContentType="application/vnd.openxmlformats-officedocument.drawingml.diagramStyle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slides/slide32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diagrams/layout7.xml" ContentType="application/vnd.openxmlformats-officedocument.drawingml.diagram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diagrams/colors6.xml" ContentType="application/vnd.openxmlformats-officedocument.drawingml.diagramColors+xml"/>
  <Override PartName="/ppt/diagrams/drawing7.xml" ContentType="application/vnd.ms-office.drawingml.diagramDrawing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diagrams/colors4.xml" ContentType="application/vnd.openxmlformats-officedocument.drawingml.diagramColors+xml"/>
  <Override PartName="/ppt/diagrams/quickStyle7.xml" ContentType="application/vnd.openxmlformats-officedocument.drawingml.diagramStyle+xml"/>
  <Override PartName="/ppt/diagrams/drawing5.xml" ContentType="application/vnd.ms-office.drawingml.diagramDrawing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48.xml" ContentType="application/vnd.openxmlformats-officedocument.presentationml.slide+xml"/>
  <Default Extension="png" ContentType="image/png"/>
  <Override PartName="/ppt/diagrams/colors2.xml" ContentType="application/vnd.openxmlformats-officedocument.drawingml.diagramColors+xml"/>
  <Default Extension="bin" ContentType="application/vnd.openxmlformats-officedocument.oleObject"/>
  <Override PartName="/ppt/diagrams/quickStyle5.xml" ContentType="application/vnd.openxmlformats-officedocument.drawingml.diagramStyl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rawing3.xml" ContentType="application/vnd.ms-office.drawingml.diagramDrawing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4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diagrams/quickStyle3.xml" ContentType="application/vnd.openxmlformats-officedocument.drawingml.diagramStyle+xml"/>
  <Override PartName="/ppt/diagrams/drawing1.xml" ContentType="application/vnd.ms-office.drawingml.diagramDrawing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s/slide44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diagrams/layout6.xml" ContentType="application/vnd.openxmlformats-officedocument.drawingml.diagramLayou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  <Override PartName="/ppt/diagrams/layout4.xml" ContentType="application/vnd.openxmlformats-officedocument.drawingml.diagramLayout+xml"/>
  <Override PartName="/ppt/diagrams/data7.xml" ContentType="application/vnd.openxmlformats-officedocument.drawingml.diagramData+xml"/>
  <Override PartName="/ppt/diagrams/layout2.xml" ContentType="application/vnd.openxmlformats-officedocument.drawingml.diagramLayout+xml"/>
  <Default Extension="vml" ContentType="application/vnd.openxmlformats-officedocument.vmlDrawing"/>
  <Override PartName="/ppt/diagrams/data5.xml" ContentType="application/vnd.openxmlformats-officedocument.drawingml.diagramData+xml"/>
  <Override PartName="/ppt/diagrams/colors7.xml" ContentType="application/vnd.openxmlformats-officedocument.drawingml.diagramColors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diagrams/drawing6.xml" ContentType="application/vnd.ms-office.drawingml.diagramDrawing+xml"/>
  <Override PartName="/ppt/slides/slide8.xml" ContentType="application/vnd.openxmlformats-officedocument.presentationml.slide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quickStyle6.xml" ContentType="application/vnd.openxmlformats-officedocument.drawingml.diagramStyle+xml"/>
  <Override PartName="/docProps/core.xml" ContentType="application/vnd.openxmlformats-package.core-properties+xml"/>
  <Override PartName="/ppt/diagrams/drawing4.xml" ContentType="application/vnd.ms-office.drawingml.diagramDrawing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tags/tag2.xml" ContentType="application/vnd.openxmlformats-officedocument.presentationml.tags+xml"/>
  <Default Extension="wmf" ContentType="image/x-wmf"/>
  <Default Extension="rels" ContentType="application/vnd.openxmlformats-package.relationship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0"/>
  </p:notesMasterIdLst>
  <p:sldIdLst>
    <p:sldId id="256" r:id="rId2"/>
    <p:sldId id="345" r:id="rId3"/>
    <p:sldId id="321" r:id="rId4"/>
    <p:sldId id="322" r:id="rId5"/>
    <p:sldId id="323" r:id="rId6"/>
    <p:sldId id="324" r:id="rId7"/>
    <p:sldId id="356" r:id="rId8"/>
    <p:sldId id="325" r:id="rId9"/>
    <p:sldId id="347" r:id="rId10"/>
    <p:sldId id="348" r:id="rId11"/>
    <p:sldId id="381" r:id="rId12"/>
    <p:sldId id="357" r:id="rId13"/>
    <p:sldId id="350" r:id="rId14"/>
    <p:sldId id="272" r:id="rId15"/>
    <p:sldId id="317" r:id="rId16"/>
    <p:sldId id="365" r:id="rId17"/>
    <p:sldId id="366" r:id="rId18"/>
    <p:sldId id="367" r:id="rId19"/>
    <p:sldId id="308" r:id="rId20"/>
    <p:sldId id="283" r:id="rId21"/>
    <p:sldId id="306" r:id="rId22"/>
    <p:sldId id="279" r:id="rId23"/>
    <p:sldId id="372" r:id="rId24"/>
    <p:sldId id="373" r:id="rId25"/>
    <p:sldId id="368" r:id="rId26"/>
    <p:sldId id="369" r:id="rId27"/>
    <p:sldId id="370" r:id="rId28"/>
    <p:sldId id="371" r:id="rId29"/>
    <p:sldId id="379" r:id="rId30"/>
    <p:sldId id="380" r:id="rId31"/>
    <p:sldId id="278" r:id="rId32"/>
    <p:sldId id="374" r:id="rId33"/>
    <p:sldId id="315" r:id="rId34"/>
    <p:sldId id="375" r:id="rId35"/>
    <p:sldId id="349" r:id="rId36"/>
    <p:sldId id="304" r:id="rId37"/>
    <p:sldId id="382" r:id="rId38"/>
    <p:sldId id="383" r:id="rId39"/>
    <p:sldId id="295" r:id="rId40"/>
    <p:sldId id="377" r:id="rId41"/>
    <p:sldId id="342" r:id="rId42"/>
    <p:sldId id="353" r:id="rId43"/>
    <p:sldId id="352" r:id="rId44"/>
    <p:sldId id="305" r:id="rId45"/>
    <p:sldId id="301" r:id="rId46"/>
    <p:sldId id="378" r:id="rId47"/>
    <p:sldId id="354" r:id="rId48"/>
    <p:sldId id="355" r:id="rId49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="" xmlns:p14="http://schemas.microsoft.com/office/powerpoint/2010/main">
        <p14:section name="默认节" id="{7BB79F40-4A35-4803-8063-F799AC176DAE}">
          <p14:sldIdLst>
            <p14:sldId id="256"/>
            <p14:sldId id="345"/>
            <p14:sldId id="321"/>
            <p14:sldId id="322"/>
            <p14:sldId id="323"/>
            <p14:sldId id="324"/>
            <p14:sldId id="356"/>
            <p14:sldId id="325"/>
            <p14:sldId id="347"/>
            <p14:sldId id="348"/>
            <p14:sldId id="381"/>
            <p14:sldId id="357"/>
            <p14:sldId id="350"/>
            <p14:sldId id="272"/>
            <p14:sldId id="317"/>
            <p14:sldId id="365"/>
            <p14:sldId id="366"/>
            <p14:sldId id="367"/>
            <p14:sldId id="308"/>
            <p14:sldId id="283"/>
            <p14:sldId id="306"/>
            <p14:sldId id="279"/>
            <p14:sldId id="372"/>
            <p14:sldId id="373"/>
            <p14:sldId id="368"/>
            <p14:sldId id="369"/>
            <p14:sldId id="370"/>
            <p14:sldId id="371"/>
            <p14:sldId id="379"/>
            <p14:sldId id="380"/>
            <p14:sldId id="278"/>
            <p14:sldId id="374"/>
            <p14:sldId id="315"/>
            <p14:sldId id="375"/>
            <p14:sldId id="349"/>
            <p14:sldId id="304"/>
            <p14:sldId id="295"/>
            <p14:sldId id="377"/>
            <p14:sldId id="342"/>
            <p14:sldId id="268"/>
            <p14:sldId id="314"/>
            <p14:sldId id="353"/>
            <p14:sldId id="352"/>
          </p14:sldIdLst>
        </p14:section>
        <p14:section name="无标题节" id="{2EFDE55D-6874-4C71-9CC0-02318D5CA8CC}">
          <p14:sldIdLst>
            <p14:sldId id="305"/>
            <p14:sldId id="301"/>
            <p14:sldId id="378"/>
            <p14:sldId id="354"/>
            <p14:sldId id="355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EAB200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 vertBarState="maximized">
    <p:restoredLeft sz="34587" autoAdjust="0"/>
    <p:restoredTop sz="94682" autoAdjust="0"/>
  </p:normalViewPr>
  <p:slideViewPr>
    <p:cSldViewPr>
      <p:cViewPr>
        <p:scale>
          <a:sx n="100" d="100"/>
          <a:sy n="100" d="100"/>
        </p:scale>
        <p:origin x="636" y="-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2082"/>
    </p:cViewPr>
  </p:outlin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8" Type="http://schemas.openxmlformats.org/officeDocument/2006/relationships/slide" Target="slides/slide7.xml"/><Relationship Id="rId51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A61E4CB-F0F6-4F01-B1DD-0E9E9BBC67D0}" type="doc">
      <dgm:prSet loTypeId="urn:microsoft.com/office/officeart/2005/8/layout/list1" loCatId="list" qsTypeId="urn:microsoft.com/office/officeart/2005/8/quickstyle/simple4" qsCatId="simple" csTypeId="urn:microsoft.com/office/officeart/2005/8/colors/accent2_1" csCatId="accent2" phldr="1"/>
      <dgm:spPr/>
      <dgm:t>
        <a:bodyPr/>
        <a:lstStyle/>
        <a:p>
          <a:endParaRPr lang="zh-CN" altLang="en-US"/>
        </a:p>
      </dgm:t>
    </dgm:pt>
    <dgm:pt modelId="{3050025C-2C61-4AF5-9B52-5A8BA0107838}">
      <dgm:prSet phldrT="[文本]"/>
      <dgm:spPr/>
      <dgm:t>
        <a:bodyPr/>
        <a:lstStyle/>
        <a:p>
          <a:r>
            <a:rPr lang="zh-CN" altLang="en-US" dirty="0" smtClean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rPr>
            <a:t>万得量化平台架构</a:t>
          </a:r>
          <a:endParaRPr lang="zh-CN" altLang="en-US" dirty="0">
            <a:solidFill>
              <a:srgbClr val="FF0000"/>
            </a:solidFill>
            <a:latin typeface="微软雅黑" pitchFamily="34" charset="-122"/>
            <a:ea typeface="微软雅黑" pitchFamily="34" charset="-122"/>
          </a:endParaRPr>
        </a:p>
      </dgm:t>
    </dgm:pt>
    <dgm:pt modelId="{7730697B-6F51-47F5-AC88-8BBDED3BD7F5}" type="parTrans" cxnId="{A74F6FBC-13E6-4453-A3EF-164FB52B2BF6}">
      <dgm:prSet/>
      <dgm:spPr/>
      <dgm:t>
        <a:bodyPr/>
        <a:lstStyle/>
        <a:p>
          <a:endParaRPr lang="zh-CN" altLang="en-US">
            <a:latin typeface="微软雅黑" pitchFamily="34" charset="-122"/>
            <a:ea typeface="微软雅黑" pitchFamily="34" charset="-122"/>
          </a:endParaRPr>
        </a:p>
      </dgm:t>
    </dgm:pt>
    <dgm:pt modelId="{E4E67624-514C-485C-BE6C-EA1B8F88B70F}" type="sibTrans" cxnId="{A74F6FBC-13E6-4453-A3EF-164FB52B2BF6}">
      <dgm:prSet/>
      <dgm:spPr/>
      <dgm:t>
        <a:bodyPr/>
        <a:lstStyle/>
        <a:p>
          <a:endParaRPr lang="zh-CN" altLang="en-US">
            <a:latin typeface="微软雅黑" pitchFamily="34" charset="-122"/>
            <a:ea typeface="微软雅黑" pitchFamily="34" charset="-122"/>
          </a:endParaRPr>
        </a:p>
      </dgm:t>
    </dgm:pt>
    <dgm:pt modelId="{FC3B0B0C-2FB6-4A9C-AC1D-FD75461CEA4D}">
      <dgm:prSet phldrT="[文本]"/>
      <dgm:spPr/>
      <dgm:t>
        <a:bodyPr/>
        <a:lstStyle/>
        <a:p>
          <a:r>
            <a:rPr lang="zh-CN" altLang="en-US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</a:rPr>
            <a:t>启用</a:t>
          </a:r>
          <a:r>
            <a:rPr lang="en-US" altLang="zh-CN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</a:rPr>
            <a:t>C#</a:t>
          </a:r>
          <a:r>
            <a:rPr lang="zh-CN" altLang="en-US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</a:rPr>
            <a:t>量化接口</a:t>
          </a:r>
          <a:endParaRPr lang="zh-CN" altLang="en-US" dirty="0">
            <a:solidFill>
              <a:schemeClr val="tx1"/>
            </a:solidFill>
            <a:latin typeface="微软雅黑" pitchFamily="34" charset="-122"/>
            <a:ea typeface="微软雅黑" pitchFamily="34" charset="-122"/>
          </a:endParaRPr>
        </a:p>
      </dgm:t>
    </dgm:pt>
    <dgm:pt modelId="{CEA54DC8-72DC-4744-BAC4-AF1538B41971}" type="parTrans" cxnId="{C30A36B7-C43B-43A1-8CF8-7D1AAE4A845F}">
      <dgm:prSet/>
      <dgm:spPr/>
      <dgm:t>
        <a:bodyPr/>
        <a:lstStyle/>
        <a:p>
          <a:endParaRPr lang="zh-CN" altLang="en-US">
            <a:latin typeface="微软雅黑" pitchFamily="34" charset="-122"/>
            <a:ea typeface="微软雅黑" pitchFamily="34" charset="-122"/>
          </a:endParaRPr>
        </a:p>
      </dgm:t>
    </dgm:pt>
    <dgm:pt modelId="{6434386C-A1EB-456F-96C2-8D2083FE6365}" type="sibTrans" cxnId="{C30A36B7-C43B-43A1-8CF8-7D1AAE4A845F}">
      <dgm:prSet/>
      <dgm:spPr/>
      <dgm:t>
        <a:bodyPr/>
        <a:lstStyle/>
        <a:p>
          <a:endParaRPr lang="zh-CN" altLang="en-US">
            <a:latin typeface="微软雅黑" pitchFamily="34" charset="-122"/>
            <a:ea typeface="微软雅黑" pitchFamily="34" charset="-122"/>
          </a:endParaRPr>
        </a:p>
      </dgm:t>
    </dgm:pt>
    <dgm:pt modelId="{FE4BF61D-049B-4B6F-8B69-82EF6B45AF10}">
      <dgm:prSet phldrT="[文本]"/>
      <dgm:spPr/>
      <dgm:t>
        <a:bodyPr/>
        <a:lstStyle/>
        <a:p>
          <a:r>
            <a:rPr lang="zh-CN" altLang="en-US" dirty="0" smtClean="0">
              <a:latin typeface="微软雅黑" pitchFamily="34" charset="-122"/>
              <a:ea typeface="微软雅黑" pitchFamily="34" charset="-122"/>
            </a:rPr>
            <a:t>数据接口</a:t>
          </a:r>
          <a:endParaRPr lang="zh-CN" altLang="en-US" dirty="0">
            <a:latin typeface="微软雅黑" pitchFamily="34" charset="-122"/>
            <a:ea typeface="微软雅黑" pitchFamily="34" charset="-122"/>
          </a:endParaRPr>
        </a:p>
      </dgm:t>
    </dgm:pt>
    <dgm:pt modelId="{987EE3E3-9BD7-4F69-9B69-0463AFD3554E}" type="parTrans" cxnId="{C6433B53-4BE8-477C-8476-94A89FB9E7BF}">
      <dgm:prSet/>
      <dgm:spPr/>
      <dgm:t>
        <a:bodyPr/>
        <a:lstStyle/>
        <a:p>
          <a:endParaRPr lang="zh-CN" altLang="en-US">
            <a:latin typeface="微软雅黑" pitchFamily="34" charset="-122"/>
            <a:ea typeface="微软雅黑" pitchFamily="34" charset="-122"/>
          </a:endParaRPr>
        </a:p>
      </dgm:t>
    </dgm:pt>
    <dgm:pt modelId="{5DAA9C00-5B47-4E31-BC1F-D153091C035C}" type="sibTrans" cxnId="{C6433B53-4BE8-477C-8476-94A89FB9E7BF}">
      <dgm:prSet/>
      <dgm:spPr/>
      <dgm:t>
        <a:bodyPr/>
        <a:lstStyle/>
        <a:p>
          <a:endParaRPr lang="zh-CN" altLang="en-US">
            <a:latin typeface="微软雅黑" pitchFamily="34" charset="-122"/>
            <a:ea typeface="微软雅黑" pitchFamily="34" charset="-122"/>
          </a:endParaRPr>
        </a:p>
      </dgm:t>
    </dgm:pt>
    <dgm:pt modelId="{F4957FEF-06A3-421B-A9F4-515977A8E734}">
      <dgm:prSet phldrT="[文本]"/>
      <dgm:spPr/>
      <dgm:t>
        <a:bodyPr/>
        <a:lstStyle/>
        <a:p>
          <a:r>
            <a:rPr lang="zh-CN" altLang="en-US" dirty="0" smtClean="0">
              <a:latin typeface="微软雅黑" pitchFamily="34" charset="-122"/>
              <a:ea typeface="微软雅黑" pitchFamily="34" charset="-122"/>
            </a:rPr>
            <a:t>交易接口</a:t>
          </a:r>
          <a:endParaRPr lang="zh-CN" altLang="en-US" dirty="0">
            <a:latin typeface="微软雅黑" pitchFamily="34" charset="-122"/>
            <a:ea typeface="微软雅黑" pitchFamily="34" charset="-122"/>
          </a:endParaRPr>
        </a:p>
      </dgm:t>
    </dgm:pt>
    <dgm:pt modelId="{2BB00301-4D6E-492D-9834-2BD61BA29CE2}" type="parTrans" cxnId="{980FB171-0BA4-4331-A0CB-4C54C585F090}">
      <dgm:prSet/>
      <dgm:spPr/>
      <dgm:t>
        <a:bodyPr/>
        <a:lstStyle/>
        <a:p>
          <a:endParaRPr lang="zh-CN" altLang="en-US">
            <a:latin typeface="微软雅黑" pitchFamily="34" charset="-122"/>
            <a:ea typeface="微软雅黑" pitchFamily="34" charset="-122"/>
          </a:endParaRPr>
        </a:p>
      </dgm:t>
    </dgm:pt>
    <dgm:pt modelId="{1625EE97-4EAE-4CE4-9993-8273798455BD}" type="sibTrans" cxnId="{980FB171-0BA4-4331-A0CB-4C54C585F090}">
      <dgm:prSet/>
      <dgm:spPr/>
      <dgm:t>
        <a:bodyPr/>
        <a:lstStyle/>
        <a:p>
          <a:endParaRPr lang="zh-CN" altLang="en-US">
            <a:latin typeface="微软雅黑" pitchFamily="34" charset="-122"/>
            <a:ea typeface="微软雅黑" pitchFamily="34" charset="-122"/>
          </a:endParaRPr>
        </a:p>
      </dgm:t>
    </dgm:pt>
    <dgm:pt modelId="{8AD83E47-B3ED-4285-A925-9C064B8838E0}">
      <dgm:prSet phldrT="[文本]"/>
      <dgm:spPr/>
      <dgm:t>
        <a:bodyPr/>
        <a:lstStyle/>
        <a:p>
          <a:r>
            <a:rPr lang="zh-CN" altLang="en-US" dirty="0" smtClean="0">
              <a:latin typeface="微软雅黑" pitchFamily="34" charset="-122"/>
              <a:ea typeface="微软雅黑" pitchFamily="34" charset="-122"/>
            </a:rPr>
            <a:t>进阶应用</a:t>
          </a:r>
          <a:endParaRPr lang="zh-CN" altLang="en-US" dirty="0">
            <a:latin typeface="微软雅黑" pitchFamily="34" charset="-122"/>
            <a:ea typeface="微软雅黑" pitchFamily="34" charset="-122"/>
          </a:endParaRPr>
        </a:p>
      </dgm:t>
    </dgm:pt>
    <dgm:pt modelId="{EFD86F48-EBF5-4DD3-96EC-4ED717C03142}" type="parTrans" cxnId="{889233B5-2195-4271-9457-F3E9390AC9E0}">
      <dgm:prSet/>
      <dgm:spPr/>
      <dgm:t>
        <a:bodyPr/>
        <a:lstStyle/>
        <a:p>
          <a:endParaRPr lang="zh-CN" altLang="en-US">
            <a:latin typeface="微软雅黑" pitchFamily="34" charset="-122"/>
            <a:ea typeface="微软雅黑" pitchFamily="34" charset="-122"/>
          </a:endParaRPr>
        </a:p>
      </dgm:t>
    </dgm:pt>
    <dgm:pt modelId="{60C4AD70-B9C8-468D-8CAE-3D27B50C4511}" type="sibTrans" cxnId="{889233B5-2195-4271-9457-F3E9390AC9E0}">
      <dgm:prSet/>
      <dgm:spPr/>
      <dgm:t>
        <a:bodyPr/>
        <a:lstStyle/>
        <a:p>
          <a:endParaRPr lang="zh-CN" altLang="en-US">
            <a:latin typeface="微软雅黑" pitchFamily="34" charset="-122"/>
            <a:ea typeface="微软雅黑" pitchFamily="34" charset="-122"/>
          </a:endParaRPr>
        </a:p>
      </dgm:t>
    </dgm:pt>
    <dgm:pt modelId="{8AB9D6F6-887F-46C7-A5D8-16293F4BC0CF}" type="pres">
      <dgm:prSet presAssocID="{0A61E4CB-F0F6-4F01-B1DD-0E9E9BBC67D0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2B8B28A6-3154-4298-8270-CDE828493BFD}" type="pres">
      <dgm:prSet presAssocID="{3050025C-2C61-4AF5-9B52-5A8BA0107838}" presName="parentLin" presStyleCnt="0"/>
      <dgm:spPr/>
    </dgm:pt>
    <dgm:pt modelId="{5766F478-0E88-4FEC-AFEB-94D9A9F4E9B0}" type="pres">
      <dgm:prSet presAssocID="{3050025C-2C61-4AF5-9B52-5A8BA0107838}" presName="parentLeftMargin" presStyleLbl="node1" presStyleIdx="0" presStyleCnt="5"/>
      <dgm:spPr/>
      <dgm:t>
        <a:bodyPr/>
        <a:lstStyle/>
        <a:p>
          <a:endParaRPr lang="zh-CN" altLang="en-US"/>
        </a:p>
      </dgm:t>
    </dgm:pt>
    <dgm:pt modelId="{55EAC9EF-DB05-40B3-82FF-FA985BE12A4E}" type="pres">
      <dgm:prSet presAssocID="{3050025C-2C61-4AF5-9B52-5A8BA0107838}" presName="parentText" presStyleLbl="node1" presStyleIdx="0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633A0B12-50B2-4709-AE2B-A80E7FAFC829}" type="pres">
      <dgm:prSet presAssocID="{3050025C-2C61-4AF5-9B52-5A8BA0107838}" presName="negativeSpace" presStyleCnt="0"/>
      <dgm:spPr/>
    </dgm:pt>
    <dgm:pt modelId="{D064ED98-F720-4A01-BD69-B5EB9AF960BC}" type="pres">
      <dgm:prSet presAssocID="{3050025C-2C61-4AF5-9B52-5A8BA0107838}" presName="childText" presStyleLbl="conFgAcc1" presStyleIdx="0" presStyleCnt="5">
        <dgm:presLayoutVars>
          <dgm:bulletEnabled val="1"/>
        </dgm:presLayoutVars>
      </dgm:prSet>
      <dgm:spPr/>
    </dgm:pt>
    <dgm:pt modelId="{098A9E1A-3D6E-4EA0-A61B-48BCA958BCD9}" type="pres">
      <dgm:prSet presAssocID="{E4E67624-514C-485C-BE6C-EA1B8F88B70F}" presName="spaceBetweenRectangles" presStyleCnt="0"/>
      <dgm:spPr/>
    </dgm:pt>
    <dgm:pt modelId="{3F57A69D-465B-4E17-921C-46195F091CA7}" type="pres">
      <dgm:prSet presAssocID="{FC3B0B0C-2FB6-4A9C-AC1D-FD75461CEA4D}" presName="parentLin" presStyleCnt="0"/>
      <dgm:spPr/>
    </dgm:pt>
    <dgm:pt modelId="{1F8FEF32-092F-406E-98A2-B36B16B45204}" type="pres">
      <dgm:prSet presAssocID="{FC3B0B0C-2FB6-4A9C-AC1D-FD75461CEA4D}" presName="parentLeftMargin" presStyleLbl="node1" presStyleIdx="0" presStyleCnt="5"/>
      <dgm:spPr/>
      <dgm:t>
        <a:bodyPr/>
        <a:lstStyle/>
        <a:p>
          <a:endParaRPr lang="zh-CN" altLang="en-US"/>
        </a:p>
      </dgm:t>
    </dgm:pt>
    <dgm:pt modelId="{D7C29C1F-2090-4897-AB30-438AAA4900EA}" type="pres">
      <dgm:prSet presAssocID="{FC3B0B0C-2FB6-4A9C-AC1D-FD75461CEA4D}" presName="parentText" presStyleLbl="node1" presStyleIdx="1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B059022F-81A0-40B8-9C0E-18627B297047}" type="pres">
      <dgm:prSet presAssocID="{FC3B0B0C-2FB6-4A9C-AC1D-FD75461CEA4D}" presName="negativeSpace" presStyleCnt="0"/>
      <dgm:spPr/>
    </dgm:pt>
    <dgm:pt modelId="{F0380638-26A8-46C1-9F5A-14ABC816FB47}" type="pres">
      <dgm:prSet presAssocID="{FC3B0B0C-2FB6-4A9C-AC1D-FD75461CEA4D}" presName="childText" presStyleLbl="conFgAcc1" presStyleIdx="1" presStyleCnt="5">
        <dgm:presLayoutVars>
          <dgm:bulletEnabled val="1"/>
        </dgm:presLayoutVars>
      </dgm:prSet>
      <dgm:spPr/>
    </dgm:pt>
    <dgm:pt modelId="{E361D812-E738-4A9E-9639-F883E70E1C72}" type="pres">
      <dgm:prSet presAssocID="{6434386C-A1EB-456F-96C2-8D2083FE6365}" presName="spaceBetweenRectangles" presStyleCnt="0"/>
      <dgm:spPr/>
    </dgm:pt>
    <dgm:pt modelId="{AC5161D0-8A81-4B56-BD5B-6C7838193838}" type="pres">
      <dgm:prSet presAssocID="{FE4BF61D-049B-4B6F-8B69-82EF6B45AF10}" presName="parentLin" presStyleCnt="0"/>
      <dgm:spPr/>
    </dgm:pt>
    <dgm:pt modelId="{885B4BF4-55F7-4CA5-8916-1C21831DFCE4}" type="pres">
      <dgm:prSet presAssocID="{FE4BF61D-049B-4B6F-8B69-82EF6B45AF10}" presName="parentLeftMargin" presStyleLbl="node1" presStyleIdx="1" presStyleCnt="5"/>
      <dgm:spPr/>
      <dgm:t>
        <a:bodyPr/>
        <a:lstStyle/>
        <a:p>
          <a:endParaRPr lang="zh-CN" altLang="en-US"/>
        </a:p>
      </dgm:t>
    </dgm:pt>
    <dgm:pt modelId="{05199A73-453E-48D7-8C83-7ABD9FCC5229}" type="pres">
      <dgm:prSet presAssocID="{FE4BF61D-049B-4B6F-8B69-82EF6B45AF10}" presName="parentText" presStyleLbl="node1" presStyleIdx="2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9B563934-E034-47DF-BA18-BC86E9297B18}" type="pres">
      <dgm:prSet presAssocID="{FE4BF61D-049B-4B6F-8B69-82EF6B45AF10}" presName="negativeSpace" presStyleCnt="0"/>
      <dgm:spPr/>
    </dgm:pt>
    <dgm:pt modelId="{350A870C-9AA0-4860-A50C-81B1652B432D}" type="pres">
      <dgm:prSet presAssocID="{FE4BF61D-049B-4B6F-8B69-82EF6B45AF10}" presName="childText" presStyleLbl="conFgAcc1" presStyleIdx="2" presStyleCnt="5">
        <dgm:presLayoutVars>
          <dgm:bulletEnabled val="1"/>
        </dgm:presLayoutVars>
      </dgm:prSet>
      <dgm:spPr/>
    </dgm:pt>
    <dgm:pt modelId="{F270C05F-1B9B-4973-BB78-C389D1D6631D}" type="pres">
      <dgm:prSet presAssocID="{5DAA9C00-5B47-4E31-BC1F-D153091C035C}" presName="spaceBetweenRectangles" presStyleCnt="0"/>
      <dgm:spPr/>
    </dgm:pt>
    <dgm:pt modelId="{B85B6613-CD68-4106-8F52-347BF031336E}" type="pres">
      <dgm:prSet presAssocID="{F4957FEF-06A3-421B-A9F4-515977A8E734}" presName="parentLin" presStyleCnt="0"/>
      <dgm:spPr/>
    </dgm:pt>
    <dgm:pt modelId="{C78F7198-775A-4E2C-95F0-A36C6AE18338}" type="pres">
      <dgm:prSet presAssocID="{F4957FEF-06A3-421B-A9F4-515977A8E734}" presName="parentLeftMargin" presStyleLbl="node1" presStyleIdx="2" presStyleCnt="5"/>
      <dgm:spPr/>
      <dgm:t>
        <a:bodyPr/>
        <a:lstStyle/>
        <a:p>
          <a:endParaRPr lang="zh-CN" altLang="en-US"/>
        </a:p>
      </dgm:t>
    </dgm:pt>
    <dgm:pt modelId="{59E0A752-A0F5-47D9-8CB1-38B4A7A9DADE}" type="pres">
      <dgm:prSet presAssocID="{F4957FEF-06A3-421B-A9F4-515977A8E734}" presName="parentText" presStyleLbl="node1" presStyleIdx="3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9D4FE6B7-DCA8-4FDC-A821-26ACBF5BBCCF}" type="pres">
      <dgm:prSet presAssocID="{F4957FEF-06A3-421B-A9F4-515977A8E734}" presName="negativeSpace" presStyleCnt="0"/>
      <dgm:spPr/>
    </dgm:pt>
    <dgm:pt modelId="{90EC6758-910D-470E-B229-5C6F5C3E26D5}" type="pres">
      <dgm:prSet presAssocID="{F4957FEF-06A3-421B-A9F4-515977A8E734}" presName="childText" presStyleLbl="conFgAcc1" presStyleIdx="3" presStyleCnt="5">
        <dgm:presLayoutVars>
          <dgm:bulletEnabled val="1"/>
        </dgm:presLayoutVars>
      </dgm:prSet>
      <dgm:spPr/>
    </dgm:pt>
    <dgm:pt modelId="{46E06398-0D5B-4AC3-A3EE-152F4DB85939}" type="pres">
      <dgm:prSet presAssocID="{1625EE97-4EAE-4CE4-9993-8273798455BD}" presName="spaceBetweenRectangles" presStyleCnt="0"/>
      <dgm:spPr/>
    </dgm:pt>
    <dgm:pt modelId="{ED3D7B2A-3712-4D67-9616-F73C2F83E255}" type="pres">
      <dgm:prSet presAssocID="{8AD83E47-B3ED-4285-A925-9C064B8838E0}" presName="parentLin" presStyleCnt="0"/>
      <dgm:spPr/>
    </dgm:pt>
    <dgm:pt modelId="{C9C333B9-EF00-48D4-A70A-26EBAC486C98}" type="pres">
      <dgm:prSet presAssocID="{8AD83E47-B3ED-4285-A925-9C064B8838E0}" presName="parentLeftMargin" presStyleLbl="node1" presStyleIdx="3" presStyleCnt="5"/>
      <dgm:spPr/>
      <dgm:t>
        <a:bodyPr/>
        <a:lstStyle/>
        <a:p>
          <a:endParaRPr lang="zh-CN" altLang="en-US"/>
        </a:p>
      </dgm:t>
    </dgm:pt>
    <dgm:pt modelId="{47D21CB3-D999-4BD1-B111-C88CF6F296F9}" type="pres">
      <dgm:prSet presAssocID="{8AD83E47-B3ED-4285-A925-9C064B8838E0}" presName="parentText" presStyleLbl="node1" presStyleIdx="4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8EA9374E-D502-4786-B8B9-CE84758992E7}" type="pres">
      <dgm:prSet presAssocID="{8AD83E47-B3ED-4285-A925-9C064B8838E0}" presName="negativeSpace" presStyleCnt="0"/>
      <dgm:spPr/>
    </dgm:pt>
    <dgm:pt modelId="{30F11050-CC2F-4167-802E-9351300C9D3E}" type="pres">
      <dgm:prSet presAssocID="{8AD83E47-B3ED-4285-A925-9C064B8838E0}" presName="childText" presStyleLbl="conFgAcc1" presStyleIdx="4" presStyleCnt="5">
        <dgm:presLayoutVars>
          <dgm:bulletEnabled val="1"/>
        </dgm:presLayoutVars>
      </dgm:prSet>
      <dgm:spPr/>
    </dgm:pt>
  </dgm:ptLst>
  <dgm:cxnLst>
    <dgm:cxn modelId="{889233B5-2195-4271-9457-F3E9390AC9E0}" srcId="{0A61E4CB-F0F6-4F01-B1DD-0E9E9BBC67D0}" destId="{8AD83E47-B3ED-4285-A925-9C064B8838E0}" srcOrd="4" destOrd="0" parTransId="{EFD86F48-EBF5-4DD3-96EC-4ED717C03142}" sibTransId="{60C4AD70-B9C8-468D-8CAE-3D27B50C4511}"/>
    <dgm:cxn modelId="{0A5676E5-2ADA-4FE6-AEB5-AD2E476AE7E5}" type="presOf" srcId="{0A61E4CB-F0F6-4F01-B1DD-0E9E9BBC67D0}" destId="{8AB9D6F6-887F-46C7-A5D8-16293F4BC0CF}" srcOrd="0" destOrd="0" presId="urn:microsoft.com/office/officeart/2005/8/layout/list1"/>
    <dgm:cxn modelId="{115B6641-F341-4F26-BF77-1D2F4731AEC9}" type="presOf" srcId="{3050025C-2C61-4AF5-9B52-5A8BA0107838}" destId="{5766F478-0E88-4FEC-AFEB-94D9A9F4E9B0}" srcOrd="0" destOrd="0" presId="urn:microsoft.com/office/officeart/2005/8/layout/list1"/>
    <dgm:cxn modelId="{798DC882-A4E0-4E10-873F-1BD145A86C5C}" type="presOf" srcId="{FC3B0B0C-2FB6-4A9C-AC1D-FD75461CEA4D}" destId="{D7C29C1F-2090-4897-AB30-438AAA4900EA}" srcOrd="1" destOrd="0" presId="urn:microsoft.com/office/officeart/2005/8/layout/list1"/>
    <dgm:cxn modelId="{F846E51E-67EF-4A87-BCB7-A9DE89EE7E45}" type="presOf" srcId="{F4957FEF-06A3-421B-A9F4-515977A8E734}" destId="{59E0A752-A0F5-47D9-8CB1-38B4A7A9DADE}" srcOrd="1" destOrd="0" presId="urn:microsoft.com/office/officeart/2005/8/layout/list1"/>
    <dgm:cxn modelId="{C6433B53-4BE8-477C-8476-94A89FB9E7BF}" srcId="{0A61E4CB-F0F6-4F01-B1DD-0E9E9BBC67D0}" destId="{FE4BF61D-049B-4B6F-8B69-82EF6B45AF10}" srcOrd="2" destOrd="0" parTransId="{987EE3E3-9BD7-4F69-9B69-0463AFD3554E}" sibTransId="{5DAA9C00-5B47-4E31-BC1F-D153091C035C}"/>
    <dgm:cxn modelId="{C30A36B7-C43B-43A1-8CF8-7D1AAE4A845F}" srcId="{0A61E4CB-F0F6-4F01-B1DD-0E9E9BBC67D0}" destId="{FC3B0B0C-2FB6-4A9C-AC1D-FD75461CEA4D}" srcOrd="1" destOrd="0" parTransId="{CEA54DC8-72DC-4744-BAC4-AF1538B41971}" sibTransId="{6434386C-A1EB-456F-96C2-8D2083FE6365}"/>
    <dgm:cxn modelId="{876E28DF-4BC2-4CEF-BB6E-F2D01BC58F73}" type="presOf" srcId="{8AD83E47-B3ED-4285-A925-9C064B8838E0}" destId="{C9C333B9-EF00-48D4-A70A-26EBAC486C98}" srcOrd="0" destOrd="0" presId="urn:microsoft.com/office/officeart/2005/8/layout/list1"/>
    <dgm:cxn modelId="{4846D207-7D41-4478-BE3A-F831E32AB423}" type="presOf" srcId="{3050025C-2C61-4AF5-9B52-5A8BA0107838}" destId="{55EAC9EF-DB05-40B3-82FF-FA985BE12A4E}" srcOrd="1" destOrd="0" presId="urn:microsoft.com/office/officeart/2005/8/layout/list1"/>
    <dgm:cxn modelId="{1A27B2E8-E56C-45E9-BB6D-2143683B80F9}" type="presOf" srcId="{FE4BF61D-049B-4B6F-8B69-82EF6B45AF10}" destId="{885B4BF4-55F7-4CA5-8916-1C21831DFCE4}" srcOrd="0" destOrd="0" presId="urn:microsoft.com/office/officeart/2005/8/layout/list1"/>
    <dgm:cxn modelId="{A74F6FBC-13E6-4453-A3EF-164FB52B2BF6}" srcId="{0A61E4CB-F0F6-4F01-B1DD-0E9E9BBC67D0}" destId="{3050025C-2C61-4AF5-9B52-5A8BA0107838}" srcOrd="0" destOrd="0" parTransId="{7730697B-6F51-47F5-AC88-8BBDED3BD7F5}" sibTransId="{E4E67624-514C-485C-BE6C-EA1B8F88B70F}"/>
    <dgm:cxn modelId="{6A63E3DC-E942-4C42-8FE7-9C80071077C0}" type="presOf" srcId="{FC3B0B0C-2FB6-4A9C-AC1D-FD75461CEA4D}" destId="{1F8FEF32-092F-406E-98A2-B36B16B45204}" srcOrd="0" destOrd="0" presId="urn:microsoft.com/office/officeart/2005/8/layout/list1"/>
    <dgm:cxn modelId="{00790C68-570B-4594-A958-4A5860680FB1}" type="presOf" srcId="{F4957FEF-06A3-421B-A9F4-515977A8E734}" destId="{C78F7198-775A-4E2C-95F0-A36C6AE18338}" srcOrd="0" destOrd="0" presId="urn:microsoft.com/office/officeart/2005/8/layout/list1"/>
    <dgm:cxn modelId="{4673F2F1-EC80-472E-BCB7-D8182E5F731A}" type="presOf" srcId="{FE4BF61D-049B-4B6F-8B69-82EF6B45AF10}" destId="{05199A73-453E-48D7-8C83-7ABD9FCC5229}" srcOrd="1" destOrd="0" presId="urn:microsoft.com/office/officeart/2005/8/layout/list1"/>
    <dgm:cxn modelId="{4CD816A1-1CAC-4391-9F88-CB74973CA3A9}" type="presOf" srcId="{8AD83E47-B3ED-4285-A925-9C064B8838E0}" destId="{47D21CB3-D999-4BD1-B111-C88CF6F296F9}" srcOrd="1" destOrd="0" presId="urn:microsoft.com/office/officeart/2005/8/layout/list1"/>
    <dgm:cxn modelId="{980FB171-0BA4-4331-A0CB-4C54C585F090}" srcId="{0A61E4CB-F0F6-4F01-B1DD-0E9E9BBC67D0}" destId="{F4957FEF-06A3-421B-A9F4-515977A8E734}" srcOrd="3" destOrd="0" parTransId="{2BB00301-4D6E-492D-9834-2BD61BA29CE2}" sibTransId="{1625EE97-4EAE-4CE4-9993-8273798455BD}"/>
    <dgm:cxn modelId="{7199952C-AAED-453F-98E4-346B60C441A5}" type="presParOf" srcId="{8AB9D6F6-887F-46C7-A5D8-16293F4BC0CF}" destId="{2B8B28A6-3154-4298-8270-CDE828493BFD}" srcOrd="0" destOrd="0" presId="urn:microsoft.com/office/officeart/2005/8/layout/list1"/>
    <dgm:cxn modelId="{FF71EF8F-3AA2-4DCA-88B6-2C8744513814}" type="presParOf" srcId="{2B8B28A6-3154-4298-8270-CDE828493BFD}" destId="{5766F478-0E88-4FEC-AFEB-94D9A9F4E9B0}" srcOrd="0" destOrd="0" presId="urn:microsoft.com/office/officeart/2005/8/layout/list1"/>
    <dgm:cxn modelId="{F8F38F13-0B5A-4F33-A7F5-7C58EF4EDDAC}" type="presParOf" srcId="{2B8B28A6-3154-4298-8270-CDE828493BFD}" destId="{55EAC9EF-DB05-40B3-82FF-FA985BE12A4E}" srcOrd="1" destOrd="0" presId="urn:microsoft.com/office/officeart/2005/8/layout/list1"/>
    <dgm:cxn modelId="{E0D00B1F-364D-4209-B6C8-8CEC450BBBAB}" type="presParOf" srcId="{8AB9D6F6-887F-46C7-A5D8-16293F4BC0CF}" destId="{633A0B12-50B2-4709-AE2B-A80E7FAFC829}" srcOrd="1" destOrd="0" presId="urn:microsoft.com/office/officeart/2005/8/layout/list1"/>
    <dgm:cxn modelId="{02451521-CA40-4DFB-82DD-BEA3511BCB59}" type="presParOf" srcId="{8AB9D6F6-887F-46C7-A5D8-16293F4BC0CF}" destId="{D064ED98-F720-4A01-BD69-B5EB9AF960BC}" srcOrd="2" destOrd="0" presId="urn:microsoft.com/office/officeart/2005/8/layout/list1"/>
    <dgm:cxn modelId="{43BC483B-8C2E-461F-9615-69C8EAFE4DC4}" type="presParOf" srcId="{8AB9D6F6-887F-46C7-A5D8-16293F4BC0CF}" destId="{098A9E1A-3D6E-4EA0-A61B-48BCA958BCD9}" srcOrd="3" destOrd="0" presId="urn:microsoft.com/office/officeart/2005/8/layout/list1"/>
    <dgm:cxn modelId="{48E26AFC-4D6F-491A-BBCB-BD2B35DEBE81}" type="presParOf" srcId="{8AB9D6F6-887F-46C7-A5D8-16293F4BC0CF}" destId="{3F57A69D-465B-4E17-921C-46195F091CA7}" srcOrd="4" destOrd="0" presId="urn:microsoft.com/office/officeart/2005/8/layout/list1"/>
    <dgm:cxn modelId="{27063CF4-2718-43FC-80F1-F7E7FD7321EC}" type="presParOf" srcId="{3F57A69D-465B-4E17-921C-46195F091CA7}" destId="{1F8FEF32-092F-406E-98A2-B36B16B45204}" srcOrd="0" destOrd="0" presId="urn:microsoft.com/office/officeart/2005/8/layout/list1"/>
    <dgm:cxn modelId="{BBCCED06-7D0A-4D46-A28E-BC1CC797E4F8}" type="presParOf" srcId="{3F57A69D-465B-4E17-921C-46195F091CA7}" destId="{D7C29C1F-2090-4897-AB30-438AAA4900EA}" srcOrd="1" destOrd="0" presId="urn:microsoft.com/office/officeart/2005/8/layout/list1"/>
    <dgm:cxn modelId="{4FC924FC-5C73-4EEB-87C0-3F615B8A6493}" type="presParOf" srcId="{8AB9D6F6-887F-46C7-A5D8-16293F4BC0CF}" destId="{B059022F-81A0-40B8-9C0E-18627B297047}" srcOrd="5" destOrd="0" presId="urn:microsoft.com/office/officeart/2005/8/layout/list1"/>
    <dgm:cxn modelId="{51AA6F40-E268-470D-B7A7-A05F11CCC426}" type="presParOf" srcId="{8AB9D6F6-887F-46C7-A5D8-16293F4BC0CF}" destId="{F0380638-26A8-46C1-9F5A-14ABC816FB47}" srcOrd="6" destOrd="0" presId="urn:microsoft.com/office/officeart/2005/8/layout/list1"/>
    <dgm:cxn modelId="{2831A4FA-835C-415A-84CD-73739F8110B9}" type="presParOf" srcId="{8AB9D6F6-887F-46C7-A5D8-16293F4BC0CF}" destId="{E361D812-E738-4A9E-9639-F883E70E1C72}" srcOrd="7" destOrd="0" presId="urn:microsoft.com/office/officeart/2005/8/layout/list1"/>
    <dgm:cxn modelId="{D2303FE1-E95A-4C95-AA68-A020325772F0}" type="presParOf" srcId="{8AB9D6F6-887F-46C7-A5D8-16293F4BC0CF}" destId="{AC5161D0-8A81-4B56-BD5B-6C7838193838}" srcOrd="8" destOrd="0" presId="urn:microsoft.com/office/officeart/2005/8/layout/list1"/>
    <dgm:cxn modelId="{4F17C35E-E28A-430B-8BC2-FFFC0A81D600}" type="presParOf" srcId="{AC5161D0-8A81-4B56-BD5B-6C7838193838}" destId="{885B4BF4-55F7-4CA5-8916-1C21831DFCE4}" srcOrd="0" destOrd="0" presId="urn:microsoft.com/office/officeart/2005/8/layout/list1"/>
    <dgm:cxn modelId="{53383BB4-67EE-4342-976E-C0EEA0189671}" type="presParOf" srcId="{AC5161D0-8A81-4B56-BD5B-6C7838193838}" destId="{05199A73-453E-48D7-8C83-7ABD9FCC5229}" srcOrd="1" destOrd="0" presId="urn:microsoft.com/office/officeart/2005/8/layout/list1"/>
    <dgm:cxn modelId="{6EE74645-0FD2-42BA-BA14-77FF7653426A}" type="presParOf" srcId="{8AB9D6F6-887F-46C7-A5D8-16293F4BC0CF}" destId="{9B563934-E034-47DF-BA18-BC86E9297B18}" srcOrd="9" destOrd="0" presId="urn:microsoft.com/office/officeart/2005/8/layout/list1"/>
    <dgm:cxn modelId="{A13587B0-444A-4538-B9C2-7115DCFB48FD}" type="presParOf" srcId="{8AB9D6F6-887F-46C7-A5D8-16293F4BC0CF}" destId="{350A870C-9AA0-4860-A50C-81B1652B432D}" srcOrd="10" destOrd="0" presId="urn:microsoft.com/office/officeart/2005/8/layout/list1"/>
    <dgm:cxn modelId="{9C817C42-1568-492C-8002-46BBD4178093}" type="presParOf" srcId="{8AB9D6F6-887F-46C7-A5D8-16293F4BC0CF}" destId="{F270C05F-1B9B-4973-BB78-C389D1D6631D}" srcOrd="11" destOrd="0" presId="urn:microsoft.com/office/officeart/2005/8/layout/list1"/>
    <dgm:cxn modelId="{609CDCE9-D8CE-49C8-92C4-295D2D7F3425}" type="presParOf" srcId="{8AB9D6F6-887F-46C7-A5D8-16293F4BC0CF}" destId="{B85B6613-CD68-4106-8F52-347BF031336E}" srcOrd="12" destOrd="0" presId="urn:microsoft.com/office/officeart/2005/8/layout/list1"/>
    <dgm:cxn modelId="{280A6FA3-1628-419B-B2E2-3C1957E02B2E}" type="presParOf" srcId="{B85B6613-CD68-4106-8F52-347BF031336E}" destId="{C78F7198-775A-4E2C-95F0-A36C6AE18338}" srcOrd="0" destOrd="0" presId="urn:microsoft.com/office/officeart/2005/8/layout/list1"/>
    <dgm:cxn modelId="{493DB996-6DB9-42E7-905A-0E9746448F55}" type="presParOf" srcId="{B85B6613-CD68-4106-8F52-347BF031336E}" destId="{59E0A752-A0F5-47D9-8CB1-38B4A7A9DADE}" srcOrd="1" destOrd="0" presId="urn:microsoft.com/office/officeart/2005/8/layout/list1"/>
    <dgm:cxn modelId="{01F09100-FDE0-4DBE-9398-1BE57667DA7F}" type="presParOf" srcId="{8AB9D6F6-887F-46C7-A5D8-16293F4BC0CF}" destId="{9D4FE6B7-DCA8-4FDC-A821-26ACBF5BBCCF}" srcOrd="13" destOrd="0" presId="urn:microsoft.com/office/officeart/2005/8/layout/list1"/>
    <dgm:cxn modelId="{4D02444D-0EA9-440F-9709-35FDFC74E158}" type="presParOf" srcId="{8AB9D6F6-887F-46C7-A5D8-16293F4BC0CF}" destId="{90EC6758-910D-470E-B229-5C6F5C3E26D5}" srcOrd="14" destOrd="0" presId="urn:microsoft.com/office/officeart/2005/8/layout/list1"/>
    <dgm:cxn modelId="{4159608E-EF53-40D6-9EB8-8C76CA05C13D}" type="presParOf" srcId="{8AB9D6F6-887F-46C7-A5D8-16293F4BC0CF}" destId="{46E06398-0D5B-4AC3-A3EE-152F4DB85939}" srcOrd="15" destOrd="0" presId="urn:microsoft.com/office/officeart/2005/8/layout/list1"/>
    <dgm:cxn modelId="{26F7E9E7-15D2-4767-AF8E-DC3E5AC7E051}" type="presParOf" srcId="{8AB9D6F6-887F-46C7-A5D8-16293F4BC0CF}" destId="{ED3D7B2A-3712-4D67-9616-F73C2F83E255}" srcOrd="16" destOrd="0" presId="urn:microsoft.com/office/officeart/2005/8/layout/list1"/>
    <dgm:cxn modelId="{09143B3A-5379-487F-BA04-1BC117315094}" type="presParOf" srcId="{ED3D7B2A-3712-4D67-9616-F73C2F83E255}" destId="{C9C333B9-EF00-48D4-A70A-26EBAC486C98}" srcOrd="0" destOrd="0" presId="urn:microsoft.com/office/officeart/2005/8/layout/list1"/>
    <dgm:cxn modelId="{19800D7D-4132-4922-97ED-0728C1EF8AD7}" type="presParOf" srcId="{ED3D7B2A-3712-4D67-9616-F73C2F83E255}" destId="{47D21CB3-D999-4BD1-B111-C88CF6F296F9}" srcOrd="1" destOrd="0" presId="urn:microsoft.com/office/officeart/2005/8/layout/list1"/>
    <dgm:cxn modelId="{D80B3351-8710-43C9-8046-39519B2317B1}" type="presParOf" srcId="{8AB9D6F6-887F-46C7-A5D8-16293F4BC0CF}" destId="{8EA9374E-D502-4786-B8B9-CE84758992E7}" srcOrd="17" destOrd="0" presId="urn:microsoft.com/office/officeart/2005/8/layout/list1"/>
    <dgm:cxn modelId="{D44DB037-BFB1-4E0B-9C87-CF1E7FA92D2E}" type="presParOf" srcId="{8AB9D6F6-887F-46C7-A5D8-16293F4BC0CF}" destId="{30F11050-CC2F-4167-802E-9351300C9D3E}" srcOrd="18" destOrd="0" presId="urn:microsoft.com/office/officeart/2005/8/layout/list1"/>
  </dgm:cxnLst>
  <dgm:bg/>
  <dgm:whole/>
  <dgm:extLst>
    <a:ext uri="http://schemas.microsoft.com/office/drawing/2008/diagram">
      <dsp:dataModelExt xmlns=""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A61E4CB-F0F6-4F01-B1DD-0E9E9BBC67D0}" type="doc">
      <dgm:prSet loTypeId="urn:microsoft.com/office/officeart/2005/8/layout/list1" loCatId="list" qsTypeId="urn:microsoft.com/office/officeart/2005/8/quickstyle/simple4" qsCatId="simple" csTypeId="urn:microsoft.com/office/officeart/2005/8/colors/accent2_1" csCatId="accent2" phldr="1"/>
      <dgm:spPr/>
      <dgm:t>
        <a:bodyPr/>
        <a:lstStyle/>
        <a:p>
          <a:endParaRPr lang="zh-CN" altLang="en-US"/>
        </a:p>
      </dgm:t>
    </dgm:pt>
    <dgm:pt modelId="{3050025C-2C61-4AF5-9B52-5A8BA0107838}">
      <dgm:prSet phldrT="[文本]"/>
      <dgm:spPr/>
      <dgm:t>
        <a:bodyPr/>
        <a:lstStyle/>
        <a:p>
          <a:r>
            <a:rPr lang="zh-CN" altLang="en-US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</a:rPr>
            <a:t>万得量化平台架构</a:t>
          </a:r>
          <a:endParaRPr lang="zh-CN" altLang="en-US" dirty="0">
            <a:solidFill>
              <a:schemeClr val="tx1"/>
            </a:solidFill>
            <a:latin typeface="微软雅黑" pitchFamily="34" charset="-122"/>
            <a:ea typeface="微软雅黑" pitchFamily="34" charset="-122"/>
          </a:endParaRPr>
        </a:p>
      </dgm:t>
    </dgm:pt>
    <dgm:pt modelId="{7730697B-6F51-47F5-AC88-8BBDED3BD7F5}" type="parTrans" cxnId="{A74F6FBC-13E6-4453-A3EF-164FB52B2BF6}">
      <dgm:prSet/>
      <dgm:spPr/>
      <dgm:t>
        <a:bodyPr/>
        <a:lstStyle/>
        <a:p>
          <a:endParaRPr lang="zh-CN" altLang="en-US">
            <a:latin typeface="微软雅黑" pitchFamily="34" charset="-122"/>
            <a:ea typeface="微软雅黑" pitchFamily="34" charset="-122"/>
          </a:endParaRPr>
        </a:p>
      </dgm:t>
    </dgm:pt>
    <dgm:pt modelId="{E4E67624-514C-485C-BE6C-EA1B8F88B70F}" type="sibTrans" cxnId="{A74F6FBC-13E6-4453-A3EF-164FB52B2BF6}">
      <dgm:prSet/>
      <dgm:spPr/>
      <dgm:t>
        <a:bodyPr/>
        <a:lstStyle/>
        <a:p>
          <a:endParaRPr lang="zh-CN" altLang="en-US">
            <a:latin typeface="微软雅黑" pitchFamily="34" charset="-122"/>
            <a:ea typeface="微软雅黑" pitchFamily="34" charset="-122"/>
          </a:endParaRPr>
        </a:p>
      </dgm:t>
    </dgm:pt>
    <dgm:pt modelId="{FC3B0B0C-2FB6-4A9C-AC1D-FD75461CEA4D}">
      <dgm:prSet phldrT="[文本]"/>
      <dgm:spPr/>
      <dgm:t>
        <a:bodyPr/>
        <a:lstStyle/>
        <a:p>
          <a:r>
            <a:rPr lang="zh-CN" altLang="en-US" dirty="0" smtClean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rPr>
            <a:t>启用</a:t>
          </a:r>
          <a:r>
            <a:rPr lang="en-US" altLang="zh-CN" dirty="0" smtClean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rPr>
            <a:t>C#</a:t>
          </a:r>
          <a:r>
            <a:rPr lang="zh-CN" altLang="en-US" dirty="0" smtClean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rPr>
            <a:t>量化接口</a:t>
          </a:r>
          <a:endParaRPr lang="zh-CN" altLang="en-US" dirty="0">
            <a:solidFill>
              <a:srgbClr val="FF0000"/>
            </a:solidFill>
            <a:latin typeface="微软雅黑" pitchFamily="34" charset="-122"/>
            <a:ea typeface="微软雅黑" pitchFamily="34" charset="-122"/>
          </a:endParaRPr>
        </a:p>
      </dgm:t>
    </dgm:pt>
    <dgm:pt modelId="{CEA54DC8-72DC-4744-BAC4-AF1538B41971}" type="parTrans" cxnId="{C30A36B7-C43B-43A1-8CF8-7D1AAE4A845F}">
      <dgm:prSet/>
      <dgm:spPr/>
      <dgm:t>
        <a:bodyPr/>
        <a:lstStyle/>
        <a:p>
          <a:endParaRPr lang="zh-CN" altLang="en-US">
            <a:latin typeface="微软雅黑" pitchFamily="34" charset="-122"/>
            <a:ea typeface="微软雅黑" pitchFamily="34" charset="-122"/>
          </a:endParaRPr>
        </a:p>
      </dgm:t>
    </dgm:pt>
    <dgm:pt modelId="{6434386C-A1EB-456F-96C2-8D2083FE6365}" type="sibTrans" cxnId="{C30A36B7-C43B-43A1-8CF8-7D1AAE4A845F}">
      <dgm:prSet/>
      <dgm:spPr/>
      <dgm:t>
        <a:bodyPr/>
        <a:lstStyle/>
        <a:p>
          <a:endParaRPr lang="zh-CN" altLang="en-US">
            <a:latin typeface="微软雅黑" pitchFamily="34" charset="-122"/>
            <a:ea typeface="微软雅黑" pitchFamily="34" charset="-122"/>
          </a:endParaRPr>
        </a:p>
      </dgm:t>
    </dgm:pt>
    <dgm:pt modelId="{FE4BF61D-049B-4B6F-8B69-82EF6B45AF10}">
      <dgm:prSet phldrT="[文本]"/>
      <dgm:spPr/>
      <dgm:t>
        <a:bodyPr/>
        <a:lstStyle/>
        <a:p>
          <a:r>
            <a:rPr lang="zh-CN" altLang="en-US" dirty="0" smtClean="0">
              <a:latin typeface="微软雅黑" pitchFamily="34" charset="-122"/>
              <a:ea typeface="微软雅黑" pitchFamily="34" charset="-122"/>
            </a:rPr>
            <a:t>数据接口</a:t>
          </a:r>
          <a:endParaRPr lang="zh-CN" altLang="en-US" dirty="0">
            <a:latin typeface="微软雅黑" pitchFamily="34" charset="-122"/>
            <a:ea typeface="微软雅黑" pitchFamily="34" charset="-122"/>
          </a:endParaRPr>
        </a:p>
      </dgm:t>
    </dgm:pt>
    <dgm:pt modelId="{987EE3E3-9BD7-4F69-9B69-0463AFD3554E}" type="parTrans" cxnId="{C6433B53-4BE8-477C-8476-94A89FB9E7BF}">
      <dgm:prSet/>
      <dgm:spPr/>
      <dgm:t>
        <a:bodyPr/>
        <a:lstStyle/>
        <a:p>
          <a:endParaRPr lang="zh-CN" altLang="en-US">
            <a:latin typeface="微软雅黑" pitchFamily="34" charset="-122"/>
            <a:ea typeface="微软雅黑" pitchFamily="34" charset="-122"/>
          </a:endParaRPr>
        </a:p>
      </dgm:t>
    </dgm:pt>
    <dgm:pt modelId="{5DAA9C00-5B47-4E31-BC1F-D153091C035C}" type="sibTrans" cxnId="{C6433B53-4BE8-477C-8476-94A89FB9E7BF}">
      <dgm:prSet/>
      <dgm:spPr/>
      <dgm:t>
        <a:bodyPr/>
        <a:lstStyle/>
        <a:p>
          <a:endParaRPr lang="zh-CN" altLang="en-US">
            <a:latin typeface="微软雅黑" pitchFamily="34" charset="-122"/>
            <a:ea typeface="微软雅黑" pitchFamily="34" charset="-122"/>
          </a:endParaRPr>
        </a:p>
      </dgm:t>
    </dgm:pt>
    <dgm:pt modelId="{F4957FEF-06A3-421B-A9F4-515977A8E734}">
      <dgm:prSet phldrT="[文本]"/>
      <dgm:spPr/>
      <dgm:t>
        <a:bodyPr/>
        <a:lstStyle/>
        <a:p>
          <a:r>
            <a:rPr lang="zh-CN" altLang="en-US" dirty="0" smtClean="0">
              <a:latin typeface="微软雅黑" pitchFamily="34" charset="-122"/>
              <a:ea typeface="微软雅黑" pitchFamily="34" charset="-122"/>
            </a:rPr>
            <a:t>交易接口</a:t>
          </a:r>
          <a:endParaRPr lang="zh-CN" altLang="en-US" dirty="0">
            <a:latin typeface="微软雅黑" pitchFamily="34" charset="-122"/>
            <a:ea typeface="微软雅黑" pitchFamily="34" charset="-122"/>
          </a:endParaRPr>
        </a:p>
      </dgm:t>
    </dgm:pt>
    <dgm:pt modelId="{2BB00301-4D6E-492D-9834-2BD61BA29CE2}" type="parTrans" cxnId="{980FB171-0BA4-4331-A0CB-4C54C585F090}">
      <dgm:prSet/>
      <dgm:spPr/>
      <dgm:t>
        <a:bodyPr/>
        <a:lstStyle/>
        <a:p>
          <a:endParaRPr lang="zh-CN" altLang="en-US">
            <a:latin typeface="微软雅黑" pitchFamily="34" charset="-122"/>
            <a:ea typeface="微软雅黑" pitchFamily="34" charset="-122"/>
          </a:endParaRPr>
        </a:p>
      </dgm:t>
    </dgm:pt>
    <dgm:pt modelId="{1625EE97-4EAE-4CE4-9993-8273798455BD}" type="sibTrans" cxnId="{980FB171-0BA4-4331-A0CB-4C54C585F090}">
      <dgm:prSet/>
      <dgm:spPr/>
      <dgm:t>
        <a:bodyPr/>
        <a:lstStyle/>
        <a:p>
          <a:endParaRPr lang="zh-CN" altLang="en-US">
            <a:latin typeface="微软雅黑" pitchFamily="34" charset="-122"/>
            <a:ea typeface="微软雅黑" pitchFamily="34" charset="-122"/>
          </a:endParaRPr>
        </a:p>
      </dgm:t>
    </dgm:pt>
    <dgm:pt modelId="{8AD83E47-B3ED-4285-A925-9C064B8838E0}">
      <dgm:prSet phldrT="[文本]"/>
      <dgm:spPr/>
      <dgm:t>
        <a:bodyPr/>
        <a:lstStyle/>
        <a:p>
          <a:r>
            <a:rPr lang="zh-CN" altLang="en-US" dirty="0" smtClean="0">
              <a:latin typeface="微软雅黑" pitchFamily="34" charset="-122"/>
              <a:ea typeface="微软雅黑" pitchFamily="34" charset="-122"/>
            </a:rPr>
            <a:t>进阶应用</a:t>
          </a:r>
          <a:endParaRPr lang="zh-CN" altLang="en-US" dirty="0">
            <a:latin typeface="微软雅黑" pitchFamily="34" charset="-122"/>
            <a:ea typeface="微软雅黑" pitchFamily="34" charset="-122"/>
          </a:endParaRPr>
        </a:p>
      </dgm:t>
    </dgm:pt>
    <dgm:pt modelId="{EFD86F48-EBF5-4DD3-96EC-4ED717C03142}" type="parTrans" cxnId="{889233B5-2195-4271-9457-F3E9390AC9E0}">
      <dgm:prSet/>
      <dgm:spPr/>
      <dgm:t>
        <a:bodyPr/>
        <a:lstStyle/>
        <a:p>
          <a:endParaRPr lang="zh-CN" altLang="en-US">
            <a:latin typeface="微软雅黑" pitchFamily="34" charset="-122"/>
            <a:ea typeface="微软雅黑" pitchFamily="34" charset="-122"/>
          </a:endParaRPr>
        </a:p>
      </dgm:t>
    </dgm:pt>
    <dgm:pt modelId="{60C4AD70-B9C8-468D-8CAE-3D27B50C4511}" type="sibTrans" cxnId="{889233B5-2195-4271-9457-F3E9390AC9E0}">
      <dgm:prSet/>
      <dgm:spPr/>
      <dgm:t>
        <a:bodyPr/>
        <a:lstStyle/>
        <a:p>
          <a:endParaRPr lang="zh-CN" altLang="en-US">
            <a:latin typeface="微软雅黑" pitchFamily="34" charset="-122"/>
            <a:ea typeface="微软雅黑" pitchFamily="34" charset="-122"/>
          </a:endParaRPr>
        </a:p>
      </dgm:t>
    </dgm:pt>
    <dgm:pt modelId="{8AB9D6F6-887F-46C7-A5D8-16293F4BC0CF}" type="pres">
      <dgm:prSet presAssocID="{0A61E4CB-F0F6-4F01-B1DD-0E9E9BBC67D0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2B8B28A6-3154-4298-8270-CDE828493BFD}" type="pres">
      <dgm:prSet presAssocID="{3050025C-2C61-4AF5-9B52-5A8BA0107838}" presName="parentLin" presStyleCnt="0"/>
      <dgm:spPr/>
    </dgm:pt>
    <dgm:pt modelId="{5766F478-0E88-4FEC-AFEB-94D9A9F4E9B0}" type="pres">
      <dgm:prSet presAssocID="{3050025C-2C61-4AF5-9B52-5A8BA0107838}" presName="parentLeftMargin" presStyleLbl="node1" presStyleIdx="0" presStyleCnt="5"/>
      <dgm:spPr/>
      <dgm:t>
        <a:bodyPr/>
        <a:lstStyle/>
        <a:p>
          <a:endParaRPr lang="zh-CN" altLang="en-US"/>
        </a:p>
      </dgm:t>
    </dgm:pt>
    <dgm:pt modelId="{55EAC9EF-DB05-40B3-82FF-FA985BE12A4E}" type="pres">
      <dgm:prSet presAssocID="{3050025C-2C61-4AF5-9B52-5A8BA0107838}" presName="parentText" presStyleLbl="node1" presStyleIdx="0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633A0B12-50B2-4709-AE2B-A80E7FAFC829}" type="pres">
      <dgm:prSet presAssocID="{3050025C-2C61-4AF5-9B52-5A8BA0107838}" presName="negativeSpace" presStyleCnt="0"/>
      <dgm:spPr/>
    </dgm:pt>
    <dgm:pt modelId="{D064ED98-F720-4A01-BD69-B5EB9AF960BC}" type="pres">
      <dgm:prSet presAssocID="{3050025C-2C61-4AF5-9B52-5A8BA0107838}" presName="childText" presStyleLbl="conFgAcc1" presStyleIdx="0" presStyleCnt="5">
        <dgm:presLayoutVars>
          <dgm:bulletEnabled val="1"/>
        </dgm:presLayoutVars>
      </dgm:prSet>
      <dgm:spPr/>
    </dgm:pt>
    <dgm:pt modelId="{098A9E1A-3D6E-4EA0-A61B-48BCA958BCD9}" type="pres">
      <dgm:prSet presAssocID="{E4E67624-514C-485C-BE6C-EA1B8F88B70F}" presName="spaceBetweenRectangles" presStyleCnt="0"/>
      <dgm:spPr/>
    </dgm:pt>
    <dgm:pt modelId="{3F57A69D-465B-4E17-921C-46195F091CA7}" type="pres">
      <dgm:prSet presAssocID="{FC3B0B0C-2FB6-4A9C-AC1D-FD75461CEA4D}" presName="parentLin" presStyleCnt="0"/>
      <dgm:spPr/>
    </dgm:pt>
    <dgm:pt modelId="{1F8FEF32-092F-406E-98A2-B36B16B45204}" type="pres">
      <dgm:prSet presAssocID="{FC3B0B0C-2FB6-4A9C-AC1D-FD75461CEA4D}" presName="parentLeftMargin" presStyleLbl="node1" presStyleIdx="0" presStyleCnt="5"/>
      <dgm:spPr/>
      <dgm:t>
        <a:bodyPr/>
        <a:lstStyle/>
        <a:p>
          <a:endParaRPr lang="zh-CN" altLang="en-US"/>
        </a:p>
      </dgm:t>
    </dgm:pt>
    <dgm:pt modelId="{D7C29C1F-2090-4897-AB30-438AAA4900EA}" type="pres">
      <dgm:prSet presAssocID="{FC3B0B0C-2FB6-4A9C-AC1D-FD75461CEA4D}" presName="parentText" presStyleLbl="node1" presStyleIdx="1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B059022F-81A0-40B8-9C0E-18627B297047}" type="pres">
      <dgm:prSet presAssocID="{FC3B0B0C-2FB6-4A9C-AC1D-FD75461CEA4D}" presName="negativeSpace" presStyleCnt="0"/>
      <dgm:spPr/>
    </dgm:pt>
    <dgm:pt modelId="{F0380638-26A8-46C1-9F5A-14ABC816FB47}" type="pres">
      <dgm:prSet presAssocID="{FC3B0B0C-2FB6-4A9C-AC1D-FD75461CEA4D}" presName="childText" presStyleLbl="conFgAcc1" presStyleIdx="1" presStyleCnt="5">
        <dgm:presLayoutVars>
          <dgm:bulletEnabled val="1"/>
        </dgm:presLayoutVars>
      </dgm:prSet>
      <dgm:spPr/>
    </dgm:pt>
    <dgm:pt modelId="{E361D812-E738-4A9E-9639-F883E70E1C72}" type="pres">
      <dgm:prSet presAssocID="{6434386C-A1EB-456F-96C2-8D2083FE6365}" presName="spaceBetweenRectangles" presStyleCnt="0"/>
      <dgm:spPr/>
    </dgm:pt>
    <dgm:pt modelId="{AC5161D0-8A81-4B56-BD5B-6C7838193838}" type="pres">
      <dgm:prSet presAssocID="{FE4BF61D-049B-4B6F-8B69-82EF6B45AF10}" presName="parentLin" presStyleCnt="0"/>
      <dgm:spPr/>
    </dgm:pt>
    <dgm:pt modelId="{885B4BF4-55F7-4CA5-8916-1C21831DFCE4}" type="pres">
      <dgm:prSet presAssocID="{FE4BF61D-049B-4B6F-8B69-82EF6B45AF10}" presName="parentLeftMargin" presStyleLbl="node1" presStyleIdx="1" presStyleCnt="5"/>
      <dgm:spPr/>
      <dgm:t>
        <a:bodyPr/>
        <a:lstStyle/>
        <a:p>
          <a:endParaRPr lang="zh-CN" altLang="en-US"/>
        </a:p>
      </dgm:t>
    </dgm:pt>
    <dgm:pt modelId="{05199A73-453E-48D7-8C83-7ABD9FCC5229}" type="pres">
      <dgm:prSet presAssocID="{FE4BF61D-049B-4B6F-8B69-82EF6B45AF10}" presName="parentText" presStyleLbl="node1" presStyleIdx="2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9B563934-E034-47DF-BA18-BC86E9297B18}" type="pres">
      <dgm:prSet presAssocID="{FE4BF61D-049B-4B6F-8B69-82EF6B45AF10}" presName="negativeSpace" presStyleCnt="0"/>
      <dgm:spPr/>
    </dgm:pt>
    <dgm:pt modelId="{350A870C-9AA0-4860-A50C-81B1652B432D}" type="pres">
      <dgm:prSet presAssocID="{FE4BF61D-049B-4B6F-8B69-82EF6B45AF10}" presName="childText" presStyleLbl="conFgAcc1" presStyleIdx="2" presStyleCnt="5">
        <dgm:presLayoutVars>
          <dgm:bulletEnabled val="1"/>
        </dgm:presLayoutVars>
      </dgm:prSet>
      <dgm:spPr/>
    </dgm:pt>
    <dgm:pt modelId="{F270C05F-1B9B-4973-BB78-C389D1D6631D}" type="pres">
      <dgm:prSet presAssocID="{5DAA9C00-5B47-4E31-BC1F-D153091C035C}" presName="spaceBetweenRectangles" presStyleCnt="0"/>
      <dgm:spPr/>
    </dgm:pt>
    <dgm:pt modelId="{B85B6613-CD68-4106-8F52-347BF031336E}" type="pres">
      <dgm:prSet presAssocID="{F4957FEF-06A3-421B-A9F4-515977A8E734}" presName="parentLin" presStyleCnt="0"/>
      <dgm:spPr/>
    </dgm:pt>
    <dgm:pt modelId="{C78F7198-775A-4E2C-95F0-A36C6AE18338}" type="pres">
      <dgm:prSet presAssocID="{F4957FEF-06A3-421B-A9F4-515977A8E734}" presName="parentLeftMargin" presStyleLbl="node1" presStyleIdx="2" presStyleCnt="5"/>
      <dgm:spPr/>
      <dgm:t>
        <a:bodyPr/>
        <a:lstStyle/>
        <a:p>
          <a:endParaRPr lang="zh-CN" altLang="en-US"/>
        </a:p>
      </dgm:t>
    </dgm:pt>
    <dgm:pt modelId="{59E0A752-A0F5-47D9-8CB1-38B4A7A9DADE}" type="pres">
      <dgm:prSet presAssocID="{F4957FEF-06A3-421B-A9F4-515977A8E734}" presName="parentText" presStyleLbl="node1" presStyleIdx="3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9D4FE6B7-DCA8-4FDC-A821-26ACBF5BBCCF}" type="pres">
      <dgm:prSet presAssocID="{F4957FEF-06A3-421B-A9F4-515977A8E734}" presName="negativeSpace" presStyleCnt="0"/>
      <dgm:spPr/>
    </dgm:pt>
    <dgm:pt modelId="{90EC6758-910D-470E-B229-5C6F5C3E26D5}" type="pres">
      <dgm:prSet presAssocID="{F4957FEF-06A3-421B-A9F4-515977A8E734}" presName="childText" presStyleLbl="conFgAcc1" presStyleIdx="3" presStyleCnt="5">
        <dgm:presLayoutVars>
          <dgm:bulletEnabled val="1"/>
        </dgm:presLayoutVars>
      </dgm:prSet>
      <dgm:spPr/>
    </dgm:pt>
    <dgm:pt modelId="{46E06398-0D5B-4AC3-A3EE-152F4DB85939}" type="pres">
      <dgm:prSet presAssocID="{1625EE97-4EAE-4CE4-9993-8273798455BD}" presName="spaceBetweenRectangles" presStyleCnt="0"/>
      <dgm:spPr/>
    </dgm:pt>
    <dgm:pt modelId="{ED3D7B2A-3712-4D67-9616-F73C2F83E255}" type="pres">
      <dgm:prSet presAssocID="{8AD83E47-B3ED-4285-A925-9C064B8838E0}" presName="parentLin" presStyleCnt="0"/>
      <dgm:spPr/>
    </dgm:pt>
    <dgm:pt modelId="{C9C333B9-EF00-48D4-A70A-26EBAC486C98}" type="pres">
      <dgm:prSet presAssocID="{8AD83E47-B3ED-4285-A925-9C064B8838E0}" presName="parentLeftMargin" presStyleLbl="node1" presStyleIdx="3" presStyleCnt="5"/>
      <dgm:spPr/>
      <dgm:t>
        <a:bodyPr/>
        <a:lstStyle/>
        <a:p>
          <a:endParaRPr lang="zh-CN" altLang="en-US"/>
        </a:p>
      </dgm:t>
    </dgm:pt>
    <dgm:pt modelId="{47D21CB3-D999-4BD1-B111-C88CF6F296F9}" type="pres">
      <dgm:prSet presAssocID="{8AD83E47-B3ED-4285-A925-9C064B8838E0}" presName="parentText" presStyleLbl="node1" presStyleIdx="4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8EA9374E-D502-4786-B8B9-CE84758992E7}" type="pres">
      <dgm:prSet presAssocID="{8AD83E47-B3ED-4285-A925-9C064B8838E0}" presName="negativeSpace" presStyleCnt="0"/>
      <dgm:spPr/>
    </dgm:pt>
    <dgm:pt modelId="{30F11050-CC2F-4167-802E-9351300C9D3E}" type="pres">
      <dgm:prSet presAssocID="{8AD83E47-B3ED-4285-A925-9C064B8838E0}" presName="childText" presStyleLbl="conFgAcc1" presStyleIdx="4" presStyleCnt="5">
        <dgm:presLayoutVars>
          <dgm:bulletEnabled val="1"/>
        </dgm:presLayoutVars>
      </dgm:prSet>
      <dgm:spPr/>
    </dgm:pt>
  </dgm:ptLst>
  <dgm:cxnLst>
    <dgm:cxn modelId="{889233B5-2195-4271-9457-F3E9390AC9E0}" srcId="{0A61E4CB-F0F6-4F01-B1DD-0E9E9BBC67D0}" destId="{8AD83E47-B3ED-4285-A925-9C064B8838E0}" srcOrd="4" destOrd="0" parTransId="{EFD86F48-EBF5-4DD3-96EC-4ED717C03142}" sibTransId="{60C4AD70-B9C8-468D-8CAE-3D27B50C4511}"/>
    <dgm:cxn modelId="{3297406B-1B9D-4E2F-8DDE-03D9C39FB4CB}" type="presOf" srcId="{0A61E4CB-F0F6-4F01-B1DD-0E9E9BBC67D0}" destId="{8AB9D6F6-887F-46C7-A5D8-16293F4BC0CF}" srcOrd="0" destOrd="0" presId="urn:microsoft.com/office/officeart/2005/8/layout/list1"/>
    <dgm:cxn modelId="{C858D495-8A34-4B78-8B63-2C7724871013}" type="presOf" srcId="{8AD83E47-B3ED-4285-A925-9C064B8838E0}" destId="{47D21CB3-D999-4BD1-B111-C88CF6F296F9}" srcOrd="1" destOrd="0" presId="urn:microsoft.com/office/officeart/2005/8/layout/list1"/>
    <dgm:cxn modelId="{1961A499-E8AF-486D-9545-85ACBD37BD5E}" type="presOf" srcId="{F4957FEF-06A3-421B-A9F4-515977A8E734}" destId="{C78F7198-775A-4E2C-95F0-A36C6AE18338}" srcOrd="0" destOrd="0" presId="urn:microsoft.com/office/officeart/2005/8/layout/list1"/>
    <dgm:cxn modelId="{C6433B53-4BE8-477C-8476-94A89FB9E7BF}" srcId="{0A61E4CB-F0F6-4F01-B1DD-0E9E9BBC67D0}" destId="{FE4BF61D-049B-4B6F-8B69-82EF6B45AF10}" srcOrd="2" destOrd="0" parTransId="{987EE3E3-9BD7-4F69-9B69-0463AFD3554E}" sibTransId="{5DAA9C00-5B47-4E31-BC1F-D153091C035C}"/>
    <dgm:cxn modelId="{8E67C2FD-3360-4E3C-A16C-04911BD8230E}" type="presOf" srcId="{8AD83E47-B3ED-4285-A925-9C064B8838E0}" destId="{C9C333B9-EF00-48D4-A70A-26EBAC486C98}" srcOrd="0" destOrd="0" presId="urn:microsoft.com/office/officeart/2005/8/layout/list1"/>
    <dgm:cxn modelId="{C30A36B7-C43B-43A1-8CF8-7D1AAE4A845F}" srcId="{0A61E4CB-F0F6-4F01-B1DD-0E9E9BBC67D0}" destId="{FC3B0B0C-2FB6-4A9C-AC1D-FD75461CEA4D}" srcOrd="1" destOrd="0" parTransId="{CEA54DC8-72DC-4744-BAC4-AF1538B41971}" sibTransId="{6434386C-A1EB-456F-96C2-8D2083FE6365}"/>
    <dgm:cxn modelId="{D13E6404-CC98-427A-9AB5-5E1817700299}" type="presOf" srcId="{3050025C-2C61-4AF5-9B52-5A8BA0107838}" destId="{55EAC9EF-DB05-40B3-82FF-FA985BE12A4E}" srcOrd="1" destOrd="0" presId="urn:microsoft.com/office/officeart/2005/8/layout/list1"/>
    <dgm:cxn modelId="{A021940B-8DDF-4DBA-AAA9-C41705EDFDEE}" type="presOf" srcId="{FC3B0B0C-2FB6-4A9C-AC1D-FD75461CEA4D}" destId="{D7C29C1F-2090-4897-AB30-438AAA4900EA}" srcOrd="1" destOrd="0" presId="urn:microsoft.com/office/officeart/2005/8/layout/list1"/>
    <dgm:cxn modelId="{DC4D8AF6-8810-497E-9882-50D0058E865F}" type="presOf" srcId="{FE4BF61D-049B-4B6F-8B69-82EF6B45AF10}" destId="{885B4BF4-55F7-4CA5-8916-1C21831DFCE4}" srcOrd="0" destOrd="0" presId="urn:microsoft.com/office/officeart/2005/8/layout/list1"/>
    <dgm:cxn modelId="{3683BBAB-5422-4BFB-B639-5703E1FD0613}" type="presOf" srcId="{F4957FEF-06A3-421B-A9F4-515977A8E734}" destId="{59E0A752-A0F5-47D9-8CB1-38B4A7A9DADE}" srcOrd="1" destOrd="0" presId="urn:microsoft.com/office/officeart/2005/8/layout/list1"/>
    <dgm:cxn modelId="{A74F6FBC-13E6-4453-A3EF-164FB52B2BF6}" srcId="{0A61E4CB-F0F6-4F01-B1DD-0E9E9BBC67D0}" destId="{3050025C-2C61-4AF5-9B52-5A8BA0107838}" srcOrd="0" destOrd="0" parTransId="{7730697B-6F51-47F5-AC88-8BBDED3BD7F5}" sibTransId="{E4E67624-514C-485C-BE6C-EA1B8F88B70F}"/>
    <dgm:cxn modelId="{902E2038-45B7-4A25-8CDA-EFA007340123}" type="presOf" srcId="{FC3B0B0C-2FB6-4A9C-AC1D-FD75461CEA4D}" destId="{1F8FEF32-092F-406E-98A2-B36B16B45204}" srcOrd="0" destOrd="0" presId="urn:microsoft.com/office/officeart/2005/8/layout/list1"/>
    <dgm:cxn modelId="{1F03CEF6-EFC2-42BF-B9BA-6E4F0E2211F0}" type="presOf" srcId="{FE4BF61D-049B-4B6F-8B69-82EF6B45AF10}" destId="{05199A73-453E-48D7-8C83-7ABD9FCC5229}" srcOrd="1" destOrd="0" presId="urn:microsoft.com/office/officeart/2005/8/layout/list1"/>
    <dgm:cxn modelId="{980FB171-0BA4-4331-A0CB-4C54C585F090}" srcId="{0A61E4CB-F0F6-4F01-B1DD-0E9E9BBC67D0}" destId="{F4957FEF-06A3-421B-A9F4-515977A8E734}" srcOrd="3" destOrd="0" parTransId="{2BB00301-4D6E-492D-9834-2BD61BA29CE2}" sibTransId="{1625EE97-4EAE-4CE4-9993-8273798455BD}"/>
    <dgm:cxn modelId="{7524FC01-A14F-4ED0-923E-C767121E09E4}" type="presOf" srcId="{3050025C-2C61-4AF5-9B52-5A8BA0107838}" destId="{5766F478-0E88-4FEC-AFEB-94D9A9F4E9B0}" srcOrd="0" destOrd="0" presId="urn:microsoft.com/office/officeart/2005/8/layout/list1"/>
    <dgm:cxn modelId="{76BC67A8-97B8-45F6-8ADA-24174C21DC85}" type="presParOf" srcId="{8AB9D6F6-887F-46C7-A5D8-16293F4BC0CF}" destId="{2B8B28A6-3154-4298-8270-CDE828493BFD}" srcOrd="0" destOrd="0" presId="urn:microsoft.com/office/officeart/2005/8/layout/list1"/>
    <dgm:cxn modelId="{6872878D-ECD7-4FB1-A764-FE013BAF1502}" type="presParOf" srcId="{2B8B28A6-3154-4298-8270-CDE828493BFD}" destId="{5766F478-0E88-4FEC-AFEB-94D9A9F4E9B0}" srcOrd="0" destOrd="0" presId="urn:microsoft.com/office/officeart/2005/8/layout/list1"/>
    <dgm:cxn modelId="{31677AD3-2DE1-42CC-9F71-2CDD3BBB85CD}" type="presParOf" srcId="{2B8B28A6-3154-4298-8270-CDE828493BFD}" destId="{55EAC9EF-DB05-40B3-82FF-FA985BE12A4E}" srcOrd="1" destOrd="0" presId="urn:microsoft.com/office/officeart/2005/8/layout/list1"/>
    <dgm:cxn modelId="{41DE5233-FA07-44F5-8A00-7DC5EE91DAD2}" type="presParOf" srcId="{8AB9D6F6-887F-46C7-A5D8-16293F4BC0CF}" destId="{633A0B12-50B2-4709-AE2B-A80E7FAFC829}" srcOrd="1" destOrd="0" presId="urn:microsoft.com/office/officeart/2005/8/layout/list1"/>
    <dgm:cxn modelId="{5DA8A7E6-0719-4641-8DD6-2C82103C77D1}" type="presParOf" srcId="{8AB9D6F6-887F-46C7-A5D8-16293F4BC0CF}" destId="{D064ED98-F720-4A01-BD69-B5EB9AF960BC}" srcOrd="2" destOrd="0" presId="urn:microsoft.com/office/officeart/2005/8/layout/list1"/>
    <dgm:cxn modelId="{C35A8A1A-E490-4D6A-B28A-A385869457AA}" type="presParOf" srcId="{8AB9D6F6-887F-46C7-A5D8-16293F4BC0CF}" destId="{098A9E1A-3D6E-4EA0-A61B-48BCA958BCD9}" srcOrd="3" destOrd="0" presId="urn:microsoft.com/office/officeart/2005/8/layout/list1"/>
    <dgm:cxn modelId="{19F56A73-27EC-445C-B26F-A6E05329E973}" type="presParOf" srcId="{8AB9D6F6-887F-46C7-A5D8-16293F4BC0CF}" destId="{3F57A69D-465B-4E17-921C-46195F091CA7}" srcOrd="4" destOrd="0" presId="urn:microsoft.com/office/officeart/2005/8/layout/list1"/>
    <dgm:cxn modelId="{42282EB6-F017-45C8-88B7-360ED2747413}" type="presParOf" srcId="{3F57A69D-465B-4E17-921C-46195F091CA7}" destId="{1F8FEF32-092F-406E-98A2-B36B16B45204}" srcOrd="0" destOrd="0" presId="urn:microsoft.com/office/officeart/2005/8/layout/list1"/>
    <dgm:cxn modelId="{34EFEBD4-9651-4E25-B2DD-A32CD97F93A5}" type="presParOf" srcId="{3F57A69D-465B-4E17-921C-46195F091CA7}" destId="{D7C29C1F-2090-4897-AB30-438AAA4900EA}" srcOrd="1" destOrd="0" presId="urn:microsoft.com/office/officeart/2005/8/layout/list1"/>
    <dgm:cxn modelId="{1139691C-5A61-461F-BAE7-4B8CA48435B2}" type="presParOf" srcId="{8AB9D6F6-887F-46C7-A5D8-16293F4BC0CF}" destId="{B059022F-81A0-40B8-9C0E-18627B297047}" srcOrd="5" destOrd="0" presId="urn:microsoft.com/office/officeart/2005/8/layout/list1"/>
    <dgm:cxn modelId="{62B6D019-6012-4252-BB2D-F65D5B0C85D7}" type="presParOf" srcId="{8AB9D6F6-887F-46C7-A5D8-16293F4BC0CF}" destId="{F0380638-26A8-46C1-9F5A-14ABC816FB47}" srcOrd="6" destOrd="0" presId="urn:microsoft.com/office/officeart/2005/8/layout/list1"/>
    <dgm:cxn modelId="{17BA9D04-707C-462C-B4CA-155178ACC6BA}" type="presParOf" srcId="{8AB9D6F6-887F-46C7-A5D8-16293F4BC0CF}" destId="{E361D812-E738-4A9E-9639-F883E70E1C72}" srcOrd="7" destOrd="0" presId="urn:microsoft.com/office/officeart/2005/8/layout/list1"/>
    <dgm:cxn modelId="{ED865B7C-7331-4276-9F5D-81321675F46F}" type="presParOf" srcId="{8AB9D6F6-887F-46C7-A5D8-16293F4BC0CF}" destId="{AC5161D0-8A81-4B56-BD5B-6C7838193838}" srcOrd="8" destOrd="0" presId="urn:microsoft.com/office/officeart/2005/8/layout/list1"/>
    <dgm:cxn modelId="{317E0516-94EB-40D2-9043-6AFE6B2B5793}" type="presParOf" srcId="{AC5161D0-8A81-4B56-BD5B-6C7838193838}" destId="{885B4BF4-55F7-4CA5-8916-1C21831DFCE4}" srcOrd="0" destOrd="0" presId="urn:microsoft.com/office/officeart/2005/8/layout/list1"/>
    <dgm:cxn modelId="{B0C7826C-1E8A-4951-B275-94C0ADCAB30A}" type="presParOf" srcId="{AC5161D0-8A81-4B56-BD5B-6C7838193838}" destId="{05199A73-453E-48D7-8C83-7ABD9FCC5229}" srcOrd="1" destOrd="0" presId="urn:microsoft.com/office/officeart/2005/8/layout/list1"/>
    <dgm:cxn modelId="{CFD7A3C7-4D79-4A8F-B101-CEC82AD7C299}" type="presParOf" srcId="{8AB9D6F6-887F-46C7-A5D8-16293F4BC0CF}" destId="{9B563934-E034-47DF-BA18-BC86E9297B18}" srcOrd="9" destOrd="0" presId="urn:microsoft.com/office/officeart/2005/8/layout/list1"/>
    <dgm:cxn modelId="{CC307449-FFA3-4603-87F7-EC98F41EF737}" type="presParOf" srcId="{8AB9D6F6-887F-46C7-A5D8-16293F4BC0CF}" destId="{350A870C-9AA0-4860-A50C-81B1652B432D}" srcOrd="10" destOrd="0" presId="urn:microsoft.com/office/officeart/2005/8/layout/list1"/>
    <dgm:cxn modelId="{0574871B-95E0-4BAE-B823-4B5AC2DD4BA0}" type="presParOf" srcId="{8AB9D6F6-887F-46C7-A5D8-16293F4BC0CF}" destId="{F270C05F-1B9B-4973-BB78-C389D1D6631D}" srcOrd="11" destOrd="0" presId="urn:microsoft.com/office/officeart/2005/8/layout/list1"/>
    <dgm:cxn modelId="{A31102D8-53E5-4FE9-B19E-B1DF931628D6}" type="presParOf" srcId="{8AB9D6F6-887F-46C7-A5D8-16293F4BC0CF}" destId="{B85B6613-CD68-4106-8F52-347BF031336E}" srcOrd="12" destOrd="0" presId="urn:microsoft.com/office/officeart/2005/8/layout/list1"/>
    <dgm:cxn modelId="{BDC84A4B-7336-4E3D-A848-E684652B1CE6}" type="presParOf" srcId="{B85B6613-CD68-4106-8F52-347BF031336E}" destId="{C78F7198-775A-4E2C-95F0-A36C6AE18338}" srcOrd="0" destOrd="0" presId="urn:microsoft.com/office/officeart/2005/8/layout/list1"/>
    <dgm:cxn modelId="{9495834B-7907-4FDC-A282-0EA373893044}" type="presParOf" srcId="{B85B6613-CD68-4106-8F52-347BF031336E}" destId="{59E0A752-A0F5-47D9-8CB1-38B4A7A9DADE}" srcOrd="1" destOrd="0" presId="urn:microsoft.com/office/officeart/2005/8/layout/list1"/>
    <dgm:cxn modelId="{870C67CE-0786-4737-A1B3-C5DA687EF598}" type="presParOf" srcId="{8AB9D6F6-887F-46C7-A5D8-16293F4BC0CF}" destId="{9D4FE6B7-DCA8-4FDC-A821-26ACBF5BBCCF}" srcOrd="13" destOrd="0" presId="urn:microsoft.com/office/officeart/2005/8/layout/list1"/>
    <dgm:cxn modelId="{056293E4-2338-4304-A773-7D4F99840370}" type="presParOf" srcId="{8AB9D6F6-887F-46C7-A5D8-16293F4BC0CF}" destId="{90EC6758-910D-470E-B229-5C6F5C3E26D5}" srcOrd="14" destOrd="0" presId="urn:microsoft.com/office/officeart/2005/8/layout/list1"/>
    <dgm:cxn modelId="{DC7175DE-E0C6-4962-A93B-DBB401D66640}" type="presParOf" srcId="{8AB9D6F6-887F-46C7-A5D8-16293F4BC0CF}" destId="{46E06398-0D5B-4AC3-A3EE-152F4DB85939}" srcOrd="15" destOrd="0" presId="urn:microsoft.com/office/officeart/2005/8/layout/list1"/>
    <dgm:cxn modelId="{E1D11365-7F84-423E-BD48-5A67CDCA953F}" type="presParOf" srcId="{8AB9D6F6-887F-46C7-A5D8-16293F4BC0CF}" destId="{ED3D7B2A-3712-4D67-9616-F73C2F83E255}" srcOrd="16" destOrd="0" presId="urn:microsoft.com/office/officeart/2005/8/layout/list1"/>
    <dgm:cxn modelId="{AB27FA98-6B56-4AE2-89C6-987D9517C9D8}" type="presParOf" srcId="{ED3D7B2A-3712-4D67-9616-F73C2F83E255}" destId="{C9C333B9-EF00-48D4-A70A-26EBAC486C98}" srcOrd="0" destOrd="0" presId="urn:microsoft.com/office/officeart/2005/8/layout/list1"/>
    <dgm:cxn modelId="{2E4A1915-06CA-4705-922D-C531378D07A6}" type="presParOf" srcId="{ED3D7B2A-3712-4D67-9616-F73C2F83E255}" destId="{47D21CB3-D999-4BD1-B111-C88CF6F296F9}" srcOrd="1" destOrd="0" presId="urn:microsoft.com/office/officeart/2005/8/layout/list1"/>
    <dgm:cxn modelId="{12E73300-B16F-4DB8-8995-BD39524C11CB}" type="presParOf" srcId="{8AB9D6F6-887F-46C7-A5D8-16293F4BC0CF}" destId="{8EA9374E-D502-4786-B8B9-CE84758992E7}" srcOrd="17" destOrd="0" presId="urn:microsoft.com/office/officeart/2005/8/layout/list1"/>
    <dgm:cxn modelId="{5E64046E-F3FC-4C30-AE61-4A7502A202D6}" type="presParOf" srcId="{8AB9D6F6-887F-46C7-A5D8-16293F4BC0CF}" destId="{30F11050-CC2F-4167-802E-9351300C9D3E}" srcOrd="18" destOrd="0" presId="urn:microsoft.com/office/officeart/2005/8/layout/list1"/>
  </dgm:cxnLst>
  <dgm:bg/>
  <dgm:whole/>
  <dgm:extLst>
    <a:ext uri="http://schemas.microsoft.com/office/drawing/2008/diagram">
      <dsp:dataModelExt xmlns=""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A61E4CB-F0F6-4F01-B1DD-0E9E9BBC67D0}" type="doc">
      <dgm:prSet loTypeId="urn:microsoft.com/office/officeart/2005/8/layout/list1" loCatId="list" qsTypeId="urn:microsoft.com/office/officeart/2005/8/quickstyle/simple4" qsCatId="simple" csTypeId="urn:microsoft.com/office/officeart/2005/8/colors/accent2_1" csCatId="accent2" phldr="1"/>
      <dgm:spPr/>
      <dgm:t>
        <a:bodyPr/>
        <a:lstStyle/>
        <a:p>
          <a:endParaRPr lang="zh-CN" altLang="en-US"/>
        </a:p>
      </dgm:t>
    </dgm:pt>
    <dgm:pt modelId="{3050025C-2C61-4AF5-9B52-5A8BA0107838}">
      <dgm:prSet phldrT="[文本]"/>
      <dgm:spPr/>
      <dgm:t>
        <a:bodyPr/>
        <a:lstStyle/>
        <a:p>
          <a:r>
            <a:rPr lang="zh-CN" altLang="en-US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</a:rPr>
            <a:t>万得量化平台架构</a:t>
          </a:r>
          <a:endParaRPr lang="zh-CN" altLang="en-US" dirty="0">
            <a:solidFill>
              <a:schemeClr val="tx1"/>
            </a:solidFill>
            <a:latin typeface="微软雅黑" pitchFamily="34" charset="-122"/>
            <a:ea typeface="微软雅黑" pitchFamily="34" charset="-122"/>
          </a:endParaRPr>
        </a:p>
      </dgm:t>
    </dgm:pt>
    <dgm:pt modelId="{7730697B-6F51-47F5-AC88-8BBDED3BD7F5}" type="parTrans" cxnId="{A74F6FBC-13E6-4453-A3EF-164FB52B2BF6}">
      <dgm:prSet/>
      <dgm:spPr/>
      <dgm:t>
        <a:bodyPr/>
        <a:lstStyle/>
        <a:p>
          <a:endParaRPr lang="zh-CN" altLang="en-US">
            <a:latin typeface="微软雅黑" pitchFamily="34" charset="-122"/>
            <a:ea typeface="微软雅黑" pitchFamily="34" charset="-122"/>
          </a:endParaRPr>
        </a:p>
      </dgm:t>
    </dgm:pt>
    <dgm:pt modelId="{E4E67624-514C-485C-BE6C-EA1B8F88B70F}" type="sibTrans" cxnId="{A74F6FBC-13E6-4453-A3EF-164FB52B2BF6}">
      <dgm:prSet/>
      <dgm:spPr/>
      <dgm:t>
        <a:bodyPr/>
        <a:lstStyle/>
        <a:p>
          <a:endParaRPr lang="zh-CN" altLang="en-US">
            <a:latin typeface="微软雅黑" pitchFamily="34" charset="-122"/>
            <a:ea typeface="微软雅黑" pitchFamily="34" charset="-122"/>
          </a:endParaRPr>
        </a:p>
      </dgm:t>
    </dgm:pt>
    <dgm:pt modelId="{FC3B0B0C-2FB6-4A9C-AC1D-FD75461CEA4D}">
      <dgm:prSet phldrT="[文本]"/>
      <dgm:spPr/>
      <dgm:t>
        <a:bodyPr/>
        <a:lstStyle/>
        <a:p>
          <a:r>
            <a:rPr lang="zh-CN" altLang="en-US" dirty="0" smtClean="0">
              <a:latin typeface="微软雅黑" pitchFamily="34" charset="-122"/>
              <a:ea typeface="微软雅黑" pitchFamily="34" charset="-122"/>
            </a:rPr>
            <a:t>启用</a:t>
          </a:r>
          <a:r>
            <a:rPr lang="en-US" altLang="zh-CN" dirty="0" smtClean="0">
              <a:latin typeface="微软雅黑" pitchFamily="34" charset="-122"/>
              <a:ea typeface="微软雅黑" pitchFamily="34" charset="-122"/>
            </a:rPr>
            <a:t>C#</a:t>
          </a:r>
          <a:r>
            <a:rPr lang="zh-CN" altLang="en-US" dirty="0" smtClean="0">
              <a:latin typeface="微软雅黑" pitchFamily="34" charset="-122"/>
              <a:ea typeface="微软雅黑" pitchFamily="34" charset="-122"/>
            </a:rPr>
            <a:t>量化接口</a:t>
          </a:r>
          <a:endParaRPr lang="zh-CN" altLang="en-US" dirty="0">
            <a:latin typeface="微软雅黑" pitchFamily="34" charset="-122"/>
            <a:ea typeface="微软雅黑" pitchFamily="34" charset="-122"/>
          </a:endParaRPr>
        </a:p>
      </dgm:t>
    </dgm:pt>
    <dgm:pt modelId="{CEA54DC8-72DC-4744-BAC4-AF1538B41971}" type="parTrans" cxnId="{C30A36B7-C43B-43A1-8CF8-7D1AAE4A845F}">
      <dgm:prSet/>
      <dgm:spPr/>
      <dgm:t>
        <a:bodyPr/>
        <a:lstStyle/>
        <a:p>
          <a:endParaRPr lang="zh-CN" altLang="en-US">
            <a:latin typeface="微软雅黑" pitchFamily="34" charset="-122"/>
            <a:ea typeface="微软雅黑" pitchFamily="34" charset="-122"/>
          </a:endParaRPr>
        </a:p>
      </dgm:t>
    </dgm:pt>
    <dgm:pt modelId="{6434386C-A1EB-456F-96C2-8D2083FE6365}" type="sibTrans" cxnId="{C30A36B7-C43B-43A1-8CF8-7D1AAE4A845F}">
      <dgm:prSet/>
      <dgm:spPr/>
      <dgm:t>
        <a:bodyPr/>
        <a:lstStyle/>
        <a:p>
          <a:endParaRPr lang="zh-CN" altLang="en-US">
            <a:latin typeface="微软雅黑" pitchFamily="34" charset="-122"/>
            <a:ea typeface="微软雅黑" pitchFamily="34" charset="-122"/>
          </a:endParaRPr>
        </a:p>
      </dgm:t>
    </dgm:pt>
    <dgm:pt modelId="{FE4BF61D-049B-4B6F-8B69-82EF6B45AF10}">
      <dgm:prSet phldrT="[文本]"/>
      <dgm:spPr/>
      <dgm:t>
        <a:bodyPr/>
        <a:lstStyle/>
        <a:p>
          <a:r>
            <a:rPr lang="zh-CN" altLang="en-US" dirty="0" smtClean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rPr>
            <a:t>数据接口</a:t>
          </a:r>
          <a:endParaRPr lang="zh-CN" altLang="en-US" dirty="0">
            <a:solidFill>
              <a:srgbClr val="FF0000"/>
            </a:solidFill>
            <a:latin typeface="微软雅黑" pitchFamily="34" charset="-122"/>
            <a:ea typeface="微软雅黑" pitchFamily="34" charset="-122"/>
          </a:endParaRPr>
        </a:p>
      </dgm:t>
    </dgm:pt>
    <dgm:pt modelId="{987EE3E3-9BD7-4F69-9B69-0463AFD3554E}" type="parTrans" cxnId="{C6433B53-4BE8-477C-8476-94A89FB9E7BF}">
      <dgm:prSet/>
      <dgm:spPr/>
      <dgm:t>
        <a:bodyPr/>
        <a:lstStyle/>
        <a:p>
          <a:endParaRPr lang="zh-CN" altLang="en-US">
            <a:latin typeface="微软雅黑" pitchFamily="34" charset="-122"/>
            <a:ea typeface="微软雅黑" pitchFamily="34" charset="-122"/>
          </a:endParaRPr>
        </a:p>
      </dgm:t>
    </dgm:pt>
    <dgm:pt modelId="{5DAA9C00-5B47-4E31-BC1F-D153091C035C}" type="sibTrans" cxnId="{C6433B53-4BE8-477C-8476-94A89FB9E7BF}">
      <dgm:prSet/>
      <dgm:spPr/>
      <dgm:t>
        <a:bodyPr/>
        <a:lstStyle/>
        <a:p>
          <a:endParaRPr lang="zh-CN" altLang="en-US">
            <a:latin typeface="微软雅黑" pitchFamily="34" charset="-122"/>
            <a:ea typeface="微软雅黑" pitchFamily="34" charset="-122"/>
          </a:endParaRPr>
        </a:p>
      </dgm:t>
    </dgm:pt>
    <dgm:pt modelId="{F4957FEF-06A3-421B-A9F4-515977A8E734}">
      <dgm:prSet phldrT="[文本]"/>
      <dgm:spPr/>
      <dgm:t>
        <a:bodyPr/>
        <a:lstStyle/>
        <a:p>
          <a:r>
            <a:rPr lang="zh-CN" altLang="en-US" dirty="0" smtClean="0">
              <a:latin typeface="微软雅黑" pitchFamily="34" charset="-122"/>
              <a:ea typeface="微软雅黑" pitchFamily="34" charset="-122"/>
            </a:rPr>
            <a:t>交易接口</a:t>
          </a:r>
          <a:endParaRPr lang="zh-CN" altLang="en-US" dirty="0">
            <a:latin typeface="微软雅黑" pitchFamily="34" charset="-122"/>
            <a:ea typeface="微软雅黑" pitchFamily="34" charset="-122"/>
          </a:endParaRPr>
        </a:p>
      </dgm:t>
    </dgm:pt>
    <dgm:pt modelId="{2BB00301-4D6E-492D-9834-2BD61BA29CE2}" type="parTrans" cxnId="{980FB171-0BA4-4331-A0CB-4C54C585F090}">
      <dgm:prSet/>
      <dgm:spPr/>
      <dgm:t>
        <a:bodyPr/>
        <a:lstStyle/>
        <a:p>
          <a:endParaRPr lang="zh-CN" altLang="en-US">
            <a:latin typeface="微软雅黑" pitchFamily="34" charset="-122"/>
            <a:ea typeface="微软雅黑" pitchFamily="34" charset="-122"/>
          </a:endParaRPr>
        </a:p>
      </dgm:t>
    </dgm:pt>
    <dgm:pt modelId="{1625EE97-4EAE-4CE4-9993-8273798455BD}" type="sibTrans" cxnId="{980FB171-0BA4-4331-A0CB-4C54C585F090}">
      <dgm:prSet/>
      <dgm:spPr/>
      <dgm:t>
        <a:bodyPr/>
        <a:lstStyle/>
        <a:p>
          <a:endParaRPr lang="zh-CN" altLang="en-US">
            <a:latin typeface="微软雅黑" pitchFamily="34" charset="-122"/>
            <a:ea typeface="微软雅黑" pitchFamily="34" charset="-122"/>
          </a:endParaRPr>
        </a:p>
      </dgm:t>
    </dgm:pt>
    <dgm:pt modelId="{8AD83E47-B3ED-4285-A925-9C064B8838E0}">
      <dgm:prSet phldrT="[文本]"/>
      <dgm:spPr/>
      <dgm:t>
        <a:bodyPr/>
        <a:lstStyle/>
        <a:p>
          <a:r>
            <a:rPr lang="zh-CN" altLang="en-US" dirty="0" smtClean="0">
              <a:latin typeface="微软雅黑" pitchFamily="34" charset="-122"/>
              <a:ea typeface="微软雅黑" pitchFamily="34" charset="-122"/>
            </a:rPr>
            <a:t>进阶应用</a:t>
          </a:r>
          <a:endParaRPr lang="zh-CN" altLang="en-US" dirty="0">
            <a:latin typeface="微软雅黑" pitchFamily="34" charset="-122"/>
            <a:ea typeface="微软雅黑" pitchFamily="34" charset="-122"/>
          </a:endParaRPr>
        </a:p>
      </dgm:t>
    </dgm:pt>
    <dgm:pt modelId="{EFD86F48-EBF5-4DD3-96EC-4ED717C03142}" type="parTrans" cxnId="{889233B5-2195-4271-9457-F3E9390AC9E0}">
      <dgm:prSet/>
      <dgm:spPr/>
      <dgm:t>
        <a:bodyPr/>
        <a:lstStyle/>
        <a:p>
          <a:endParaRPr lang="zh-CN" altLang="en-US">
            <a:latin typeface="微软雅黑" pitchFamily="34" charset="-122"/>
            <a:ea typeface="微软雅黑" pitchFamily="34" charset="-122"/>
          </a:endParaRPr>
        </a:p>
      </dgm:t>
    </dgm:pt>
    <dgm:pt modelId="{60C4AD70-B9C8-468D-8CAE-3D27B50C4511}" type="sibTrans" cxnId="{889233B5-2195-4271-9457-F3E9390AC9E0}">
      <dgm:prSet/>
      <dgm:spPr/>
      <dgm:t>
        <a:bodyPr/>
        <a:lstStyle/>
        <a:p>
          <a:endParaRPr lang="zh-CN" altLang="en-US">
            <a:latin typeface="微软雅黑" pitchFamily="34" charset="-122"/>
            <a:ea typeface="微软雅黑" pitchFamily="34" charset="-122"/>
          </a:endParaRPr>
        </a:p>
      </dgm:t>
    </dgm:pt>
    <dgm:pt modelId="{8AB9D6F6-887F-46C7-A5D8-16293F4BC0CF}" type="pres">
      <dgm:prSet presAssocID="{0A61E4CB-F0F6-4F01-B1DD-0E9E9BBC67D0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2B8B28A6-3154-4298-8270-CDE828493BFD}" type="pres">
      <dgm:prSet presAssocID="{3050025C-2C61-4AF5-9B52-5A8BA0107838}" presName="parentLin" presStyleCnt="0"/>
      <dgm:spPr/>
    </dgm:pt>
    <dgm:pt modelId="{5766F478-0E88-4FEC-AFEB-94D9A9F4E9B0}" type="pres">
      <dgm:prSet presAssocID="{3050025C-2C61-4AF5-9B52-5A8BA0107838}" presName="parentLeftMargin" presStyleLbl="node1" presStyleIdx="0" presStyleCnt="5"/>
      <dgm:spPr/>
      <dgm:t>
        <a:bodyPr/>
        <a:lstStyle/>
        <a:p>
          <a:endParaRPr lang="zh-CN" altLang="en-US"/>
        </a:p>
      </dgm:t>
    </dgm:pt>
    <dgm:pt modelId="{55EAC9EF-DB05-40B3-82FF-FA985BE12A4E}" type="pres">
      <dgm:prSet presAssocID="{3050025C-2C61-4AF5-9B52-5A8BA0107838}" presName="parentText" presStyleLbl="node1" presStyleIdx="0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633A0B12-50B2-4709-AE2B-A80E7FAFC829}" type="pres">
      <dgm:prSet presAssocID="{3050025C-2C61-4AF5-9B52-5A8BA0107838}" presName="negativeSpace" presStyleCnt="0"/>
      <dgm:spPr/>
    </dgm:pt>
    <dgm:pt modelId="{D064ED98-F720-4A01-BD69-B5EB9AF960BC}" type="pres">
      <dgm:prSet presAssocID="{3050025C-2C61-4AF5-9B52-5A8BA0107838}" presName="childText" presStyleLbl="conFgAcc1" presStyleIdx="0" presStyleCnt="5">
        <dgm:presLayoutVars>
          <dgm:bulletEnabled val="1"/>
        </dgm:presLayoutVars>
      </dgm:prSet>
      <dgm:spPr/>
    </dgm:pt>
    <dgm:pt modelId="{098A9E1A-3D6E-4EA0-A61B-48BCA958BCD9}" type="pres">
      <dgm:prSet presAssocID="{E4E67624-514C-485C-BE6C-EA1B8F88B70F}" presName="spaceBetweenRectangles" presStyleCnt="0"/>
      <dgm:spPr/>
    </dgm:pt>
    <dgm:pt modelId="{3F57A69D-465B-4E17-921C-46195F091CA7}" type="pres">
      <dgm:prSet presAssocID="{FC3B0B0C-2FB6-4A9C-AC1D-FD75461CEA4D}" presName="parentLin" presStyleCnt="0"/>
      <dgm:spPr/>
    </dgm:pt>
    <dgm:pt modelId="{1F8FEF32-092F-406E-98A2-B36B16B45204}" type="pres">
      <dgm:prSet presAssocID="{FC3B0B0C-2FB6-4A9C-AC1D-FD75461CEA4D}" presName="parentLeftMargin" presStyleLbl="node1" presStyleIdx="0" presStyleCnt="5"/>
      <dgm:spPr/>
      <dgm:t>
        <a:bodyPr/>
        <a:lstStyle/>
        <a:p>
          <a:endParaRPr lang="zh-CN" altLang="en-US"/>
        </a:p>
      </dgm:t>
    </dgm:pt>
    <dgm:pt modelId="{D7C29C1F-2090-4897-AB30-438AAA4900EA}" type="pres">
      <dgm:prSet presAssocID="{FC3B0B0C-2FB6-4A9C-AC1D-FD75461CEA4D}" presName="parentText" presStyleLbl="node1" presStyleIdx="1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B059022F-81A0-40B8-9C0E-18627B297047}" type="pres">
      <dgm:prSet presAssocID="{FC3B0B0C-2FB6-4A9C-AC1D-FD75461CEA4D}" presName="negativeSpace" presStyleCnt="0"/>
      <dgm:spPr/>
    </dgm:pt>
    <dgm:pt modelId="{F0380638-26A8-46C1-9F5A-14ABC816FB47}" type="pres">
      <dgm:prSet presAssocID="{FC3B0B0C-2FB6-4A9C-AC1D-FD75461CEA4D}" presName="childText" presStyleLbl="conFgAcc1" presStyleIdx="1" presStyleCnt="5">
        <dgm:presLayoutVars>
          <dgm:bulletEnabled val="1"/>
        </dgm:presLayoutVars>
      </dgm:prSet>
      <dgm:spPr/>
    </dgm:pt>
    <dgm:pt modelId="{E361D812-E738-4A9E-9639-F883E70E1C72}" type="pres">
      <dgm:prSet presAssocID="{6434386C-A1EB-456F-96C2-8D2083FE6365}" presName="spaceBetweenRectangles" presStyleCnt="0"/>
      <dgm:spPr/>
    </dgm:pt>
    <dgm:pt modelId="{AC5161D0-8A81-4B56-BD5B-6C7838193838}" type="pres">
      <dgm:prSet presAssocID="{FE4BF61D-049B-4B6F-8B69-82EF6B45AF10}" presName="parentLin" presStyleCnt="0"/>
      <dgm:spPr/>
    </dgm:pt>
    <dgm:pt modelId="{885B4BF4-55F7-4CA5-8916-1C21831DFCE4}" type="pres">
      <dgm:prSet presAssocID="{FE4BF61D-049B-4B6F-8B69-82EF6B45AF10}" presName="parentLeftMargin" presStyleLbl="node1" presStyleIdx="1" presStyleCnt="5"/>
      <dgm:spPr/>
      <dgm:t>
        <a:bodyPr/>
        <a:lstStyle/>
        <a:p>
          <a:endParaRPr lang="zh-CN" altLang="en-US"/>
        </a:p>
      </dgm:t>
    </dgm:pt>
    <dgm:pt modelId="{05199A73-453E-48D7-8C83-7ABD9FCC5229}" type="pres">
      <dgm:prSet presAssocID="{FE4BF61D-049B-4B6F-8B69-82EF6B45AF10}" presName="parentText" presStyleLbl="node1" presStyleIdx="2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9B563934-E034-47DF-BA18-BC86E9297B18}" type="pres">
      <dgm:prSet presAssocID="{FE4BF61D-049B-4B6F-8B69-82EF6B45AF10}" presName="negativeSpace" presStyleCnt="0"/>
      <dgm:spPr/>
    </dgm:pt>
    <dgm:pt modelId="{350A870C-9AA0-4860-A50C-81B1652B432D}" type="pres">
      <dgm:prSet presAssocID="{FE4BF61D-049B-4B6F-8B69-82EF6B45AF10}" presName="childText" presStyleLbl="conFgAcc1" presStyleIdx="2" presStyleCnt="5">
        <dgm:presLayoutVars>
          <dgm:bulletEnabled val="1"/>
        </dgm:presLayoutVars>
      </dgm:prSet>
      <dgm:spPr/>
    </dgm:pt>
    <dgm:pt modelId="{F270C05F-1B9B-4973-BB78-C389D1D6631D}" type="pres">
      <dgm:prSet presAssocID="{5DAA9C00-5B47-4E31-BC1F-D153091C035C}" presName="spaceBetweenRectangles" presStyleCnt="0"/>
      <dgm:spPr/>
    </dgm:pt>
    <dgm:pt modelId="{B85B6613-CD68-4106-8F52-347BF031336E}" type="pres">
      <dgm:prSet presAssocID="{F4957FEF-06A3-421B-A9F4-515977A8E734}" presName="parentLin" presStyleCnt="0"/>
      <dgm:spPr/>
    </dgm:pt>
    <dgm:pt modelId="{C78F7198-775A-4E2C-95F0-A36C6AE18338}" type="pres">
      <dgm:prSet presAssocID="{F4957FEF-06A3-421B-A9F4-515977A8E734}" presName="parentLeftMargin" presStyleLbl="node1" presStyleIdx="2" presStyleCnt="5"/>
      <dgm:spPr/>
      <dgm:t>
        <a:bodyPr/>
        <a:lstStyle/>
        <a:p>
          <a:endParaRPr lang="zh-CN" altLang="en-US"/>
        </a:p>
      </dgm:t>
    </dgm:pt>
    <dgm:pt modelId="{59E0A752-A0F5-47D9-8CB1-38B4A7A9DADE}" type="pres">
      <dgm:prSet presAssocID="{F4957FEF-06A3-421B-A9F4-515977A8E734}" presName="parentText" presStyleLbl="node1" presStyleIdx="3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9D4FE6B7-DCA8-4FDC-A821-26ACBF5BBCCF}" type="pres">
      <dgm:prSet presAssocID="{F4957FEF-06A3-421B-A9F4-515977A8E734}" presName="negativeSpace" presStyleCnt="0"/>
      <dgm:spPr/>
    </dgm:pt>
    <dgm:pt modelId="{90EC6758-910D-470E-B229-5C6F5C3E26D5}" type="pres">
      <dgm:prSet presAssocID="{F4957FEF-06A3-421B-A9F4-515977A8E734}" presName="childText" presStyleLbl="conFgAcc1" presStyleIdx="3" presStyleCnt="5">
        <dgm:presLayoutVars>
          <dgm:bulletEnabled val="1"/>
        </dgm:presLayoutVars>
      </dgm:prSet>
      <dgm:spPr/>
    </dgm:pt>
    <dgm:pt modelId="{46E06398-0D5B-4AC3-A3EE-152F4DB85939}" type="pres">
      <dgm:prSet presAssocID="{1625EE97-4EAE-4CE4-9993-8273798455BD}" presName="spaceBetweenRectangles" presStyleCnt="0"/>
      <dgm:spPr/>
    </dgm:pt>
    <dgm:pt modelId="{ED3D7B2A-3712-4D67-9616-F73C2F83E255}" type="pres">
      <dgm:prSet presAssocID="{8AD83E47-B3ED-4285-A925-9C064B8838E0}" presName="parentLin" presStyleCnt="0"/>
      <dgm:spPr/>
    </dgm:pt>
    <dgm:pt modelId="{C9C333B9-EF00-48D4-A70A-26EBAC486C98}" type="pres">
      <dgm:prSet presAssocID="{8AD83E47-B3ED-4285-A925-9C064B8838E0}" presName="parentLeftMargin" presStyleLbl="node1" presStyleIdx="3" presStyleCnt="5"/>
      <dgm:spPr/>
      <dgm:t>
        <a:bodyPr/>
        <a:lstStyle/>
        <a:p>
          <a:endParaRPr lang="zh-CN" altLang="en-US"/>
        </a:p>
      </dgm:t>
    </dgm:pt>
    <dgm:pt modelId="{47D21CB3-D999-4BD1-B111-C88CF6F296F9}" type="pres">
      <dgm:prSet presAssocID="{8AD83E47-B3ED-4285-A925-9C064B8838E0}" presName="parentText" presStyleLbl="node1" presStyleIdx="4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8EA9374E-D502-4786-B8B9-CE84758992E7}" type="pres">
      <dgm:prSet presAssocID="{8AD83E47-B3ED-4285-A925-9C064B8838E0}" presName="negativeSpace" presStyleCnt="0"/>
      <dgm:spPr/>
    </dgm:pt>
    <dgm:pt modelId="{30F11050-CC2F-4167-802E-9351300C9D3E}" type="pres">
      <dgm:prSet presAssocID="{8AD83E47-B3ED-4285-A925-9C064B8838E0}" presName="childText" presStyleLbl="conFgAcc1" presStyleIdx="4" presStyleCnt="5">
        <dgm:presLayoutVars>
          <dgm:bulletEnabled val="1"/>
        </dgm:presLayoutVars>
      </dgm:prSet>
      <dgm:spPr/>
    </dgm:pt>
  </dgm:ptLst>
  <dgm:cxnLst>
    <dgm:cxn modelId="{DC100C38-F246-4EF0-BFA2-C7303F0476AA}" type="presOf" srcId="{FE4BF61D-049B-4B6F-8B69-82EF6B45AF10}" destId="{885B4BF4-55F7-4CA5-8916-1C21831DFCE4}" srcOrd="0" destOrd="0" presId="urn:microsoft.com/office/officeart/2005/8/layout/list1"/>
    <dgm:cxn modelId="{9827A60A-ECC7-4BB9-9A17-A14E437678CE}" type="presOf" srcId="{FC3B0B0C-2FB6-4A9C-AC1D-FD75461CEA4D}" destId="{1F8FEF32-092F-406E-98A2-B36B16B45204}" srcOrd="0" destOrd="0" presId="urn:microsoft.com/office/officeart/2005/8/layout/list1"/>
    <dgm:cxn modelId="{C6433B53-4BE8-477C-8476-94A89FB9E7BF}" srcId="{0A61E4CB-F0F6-4F01-B1DD-0E9E9BBC67D0}" destId="{FE4BF61D-049B-4B6F-8B69-82EF6B45AF10}" srcOrd="2" destOrd="0" parTransId="{987EE3E3-9BD7-4F69-9B69-0463AFD3554E}" sibTransId="{5DAA9C00-5B47-4E31-BC1F-D153091C035C}"/>
    <dgm:cxn modelId="{9BE5ED10-A3C7-40C6-88EC-4BCBD239A8A4}" type="presOf" srcId="{FC3B0B0C-2FB6-4A9C-AC1D-FD75461CEA4D}" destId="{D7C29C1F-2090-4897-AB30-438AAA4900EA}" srcOrd="1" destOrd="0" presId="urn:microsoft.com/office/officeart/2005/8/layout/list1"/>
    <dgm:cxn modelId="{EED4EDFE-AC7D-4F92-9991-DE7F3081CABB}" type="presOf" srcId="{F4957FEF-06A3-421B-A9F4-515977A8E734}" destId="{59E0A752-A0F5-47D9-8CB1-38B4A7A9DADE}" srcOrd="1" destOrd="0" presId="urn:microsoft.com/office/officeart/2005/8/layout/list1"/>
    <dgm:cxn modelId="{C6192834-C123-4638-A921-839FFC2835CA}" type="presOf" srcId="{FE4BF61D-049B-4B6F-8B69-82EF6B45AF10}" destId="{05199A73-453E-48D7-8C83-7ABD9FCC5229}" srcOrd="1" destOrd="0" presId="urn:microsoft.com/office/officeart/2005/8/layout/list1"/>
    <dgm:cxn modelId="{7B70781D-26F0-464C-BC03-C16CC4B8A0F1}" type="presOf" srcId="{8AD83E47-B3ED-4285-A925-9C064B8838E0}" destId="{C9C333B9-EF00-48D4-A70A-26EBAC486C98}" srcOrd="0" destOrd="0" presId="urn:microsoft.com/office/officeart/2005/8/layout/list1"/>
    <dgm:cxn modelId="{A74F6FBC-13E6-4453-A3EF-164FB52B2BF6}" srcId="{0A61E4CB-F0F6-4F01-B1DD-0E9E9BBC67D0}" destId="{3050025C-2C61-4AF5-9B52-5A8BA0107838}" srcOrd="0" destOrd="0" parTransId="{7730697B-6F51-47F5-AC88-8BBDED3BD7F5}" sibTransId="{E4E67624-514C-485C-BE6C-EA1B8F88B70F}"/>
    <dgm:cxn modelId="{B81E60CC-2C5E-4197-B579-B1DB7A6C519A}" type="presOf" srcId="{3050025C-2C61-4AF5-9B52-5A8BA0107838}" destId="{5766F478-0E88-4FEC-AFEB-94D9A9F4E9B0}" srcOrd="0" destOrd="0" presId="urn:microsoft.com/office/officeart/2005/8/layout/list1"/>
    <dgm:cxn modelId="{2A7C6486-6DA6-48AE-A901-29F4369FD66C}" type="presOf" srcId="{F4957FEF-06A3-421B-A9F4-515977A8E734}" destId="{C78F7198-775A-4E2C-95F0-A36C6AE18338}" srcOrd="0" destOrd="0" presId="urn:microsoft.com/office/officeart/2005/8/layout/list1"/>
    <dgm:cxn modelId="{980FB171-0BA4-4331-A0CB-4C54C585F090}" srcId="{0A61E4CB-F0F6-4F01-B1DD-0E9E9BBC67D0}" destId="{F4957FEF-06A3-421B-A9F4-515977A8E734}" srcOrd="3" destOrd="0" parTransId="{2BB00301-4D6E-492D-9834-2BD61BA29CE2}" sibTransId="{1625EE97-4EAE-4CE4-9993-8273798455BD}"/>
    <dgm:cxn modelId="{673DDEAA-C6FE-4C28-BA40-A0D8CEC3E4DE}" type="presOf" srcId="{3050025C-2C61-4AF5-9B52-5A8BA0107838}" destId="{55EAC9EF-DB05-40B3-82FF-FA985BE12A4E}" srcOrd="1" destOrd="0" presId="urn:microsoft.com/office/officeart/2005/8/layout/list1"/>
    <dgm:cxn modelId="{889233B5-2195-4271-9457-F3E9390AC9E0}" srcId="{0A61E4CB-F0F6-4F01-B1DD-0E9E9BBC67D0}" destId="{8AD83E47-B3ED-4285-A925-9C064B8838E0}" srcOrd="4" destOrd="0" parTransId="{EFD86F48-EBF5-4DD3-96EC-4ED717C03142}" sibTransId="{60C4AD70-B9C8-468D-8CAE-3D27B50C4511}"/>
    <dgm:cxn modelId="{C30A36B7-C43B-43A1-8CF8-7D1AAE4A845F}" srcId="{0A61E4CB-F0F6-4F01-B1DD-0E9E9BBC67D0}" destId="{FC3B0B0C-2FB6-4A9C-AC1D-FD75461CEA4D}" srcOrd="1" destOrd="0" parTransId="{CEA54DC8-72DC-4744-BAC4-AF1538B41971}" sibTransId="{6434386C-A1EB-456F-96C2-8D2083FE6365}"/>
    <dgm:cxn modelId="{124A7F1D-A7BB-43C7-ACC7-95CAE18D39BA}" type="presOf" srcId="{0A61E4CB-F0F6-4F01-B1DD-0E9E9BBC67D0}" destId="{8AB9D6F6-887F-46C7-A5D8-16293F4BC0CF}" srcOrd="0" destOrd="0" presId="urn:microsoft.com/office/officeart/2005/8/layout/list1"/>
    <dgm:cxn modelId="{8EBC0B19-F41B-41DA-AD70-7AC1CECF5C37}" type="presOf" srcId="{8AD83E47-B3ED-4285-A925-9C064B8838E0}" destId="{47D21CB3-D999-4BD1-B111-C88CF6F296F9}" srcOrd="1" destOrd="0" presId="urn:microsoft.com/office/officeart/2005/8/layout/list1"/>
    <dgm:cxn modelId="{0299D1F5-7C29-44FA-AD02-7F7FBFB5B8B9}" type="presParOf" srcId="{8AB9D6F6-887F-46C7-A5D8-16293F4BC0CF}" destId="{2B8B28A6-3154-4298-8270-CDE828493BFD}" srcOrd="0" destOrd="0" presId="urn:microsoft.com/office/officeart/2005/8/layout/list1"/>
    <dgm:cxn modelId="{0D1D5405-0951-4713-B6F7-2A3558D44D98}" type="presParOf" srcId="{2B8B28A6-3154-4298-8270-CDE828493BFD}" destId="{5766F478-0E88-4FEC-AFEB-94D9A9F4E9B0}" srcOrd="0" destOrd="0" presId="urn:microsoft.com/office/officeart/2005/8/layout/list1"/>
    <dgm:cxn modelId="{93B7B7B2-F50E-495B-9822-68EEB7ACDF18}" type="presParOf" srcId="{2B8B28A6-3154-4298-8270-CDE828493BFD}" destId="{55EAC9EF-DB05-40B3-82FF-FA985BE12A4E}" srcOrd="1" destOrd="0" presId="urn:microsoft.com/office/officeart/2005/8/layout/list1"/>
    <dgm:cxn modelId="{AEAE0DD4-C683-4E81-95FA-4EEC184CEF41}" type="presParOf" srcId="{8AB9D6F6-887F-46C7-A5D8-16293F4BC0CF}" destId="{633A0B12-50B2-4709-AE2B-A80E7FAFC829}" srcOrd="1" destOrd="0" presId="urn:microsoft.com/office/officeart/2005/8/layout/list1"/>
    <dgm:cxn modelId="{0DB86CF9-4AB7-4383-A597-283D685E167B}" type="presParOf" srcId="{8AB9D6F6-887F-46C7-A5D8-16293F4BC0CF}" destId="{D064ED98-F720-4A01-BD69-B5EB9AF960BC}" srcOrd="2" destOrd="0" presId="urn:microsoft.com/office/officeart/2005/8/layout/list1"/>
    <dgm:cxn modelId="{6858C907-AFDD-4CF7-B0F1-28B735EA8BA8}" type="presParOf" srcId="{8AB9D6F6-887F-46C7-A5D8-16293F4BC0CF}" destId="{098A9E1A-3D6E-4EA0-A61B-48BCA958BCD9}" srcOrd="3" destOrd="0" presId="urn:microsoft.com/office/officeart/2005/8/layout/list1"/>
    <dgm:cxn modelId="{0BAB9B0D-00E7-4DBF-924D-535589D11B39}" type="presParOf" srcId="{8AB9D6F6-887F-46C7-A5D8-16293F4BC0CF}" destId="{3F57A69D-465B-4E17-921C-46195F091CA7}" srcOrd="4" destOrd="0" presId="urn:microsoft.com/office/officeart/2005/8/layout/list1"/>
    <dgm:cxn modelId="{C94F7110-032D-48AF-AB9A-BEEF21CE7830}" type="presParOf" srcId="{3F57A69D-465B-4E17-921C-46195F091CA7}" destId="{1F8FEF32-092F-406E-98A2-B36B16B45204}" srcOrd="0" destOrd="0" presId="urn:microsoft.com/office/officeart/2005/8/layout/list1"/>
    <dgm:cxn modelId="{0B98F2F1-D43A-404D-BA95-CC4D9E0C2084}" type="presParOf" srcId="{3F57A69D-465B-4E17-921C-46195F091CA7}" destId="{D7C29C1F-2090-4897-AB30-438AAA4900EA}" srcOrd="1" destOrd="0" presId="urn:microsoft.com/office/officeart/2005/8/layout/list1"/>
    <dgm:cxn modelId="{BD20DBAD-B770-495B-BC6C-FB45A92C5139}" type="presParOf" srcId="{8AB9D6F6-887F-46C7-A5D8-16293F4BC0CF}" destId="{B059022F-81A0-40B8-9C0E-18627B297047}" srcOrd="5" destOrd="0" presId="urn:microsoft.com/office/officeart/2005/8/layout/list1"/>
    <dgm:cxn modelId="{2F758E38-DE78-482E-BF8E-685463DF11D5}" type="presParOf" srcId="{8AB9D6F6-887F-46C7-A5D8-16293F4BC0CF}" destId="{F0380638-26A8-46C1-9F5A-14ABC816FB47}" srcOrd="6" destOrd="0" presId="urn:microsoft.com/office/officeart/2005/8/layout/list1"/>
    <dgm:cxn modelId="{50C98F15-582C-4CFD-B7FD-4DCD6FA133F4}" type="presParOf" srcId="{8AB9D6F6-887F-46C7-A5D8-16293F4BC0CF}" destId="{E361D812-E738-4A9E-9639-F883E70E1C72}" srcOrd="7" destOrd="0" presId="urn:microsoft.com/office/officeart/2005/8/layout/list1"/>
    <dgm:cxn modelId="{775DA8CB-D1C6-4128-A0C8-6B976BE083D1}" type="presParOf" srcId="{8AB9D6F6-887F-46C7-A5D8-16293F4BC0CF}" destId="{AC5161D0-8A81-4B56-BD5B-6C7838193838}" srcOrd="8" destOrd="0" presId="urn:microsoft.com/office/officeart/2005/8/layout/list1"/>
    <dgm:cxn modelId="{F80396AF-97DC-4DC8-A9BA-656AD6ABD98C}" type="presParOf" srcId="{AC5161D0-8A81-4B56-BD5B-6C7838193838}" destId="{885B4BF4-55F7-4CA5-8916-1C21831DFCE4}" srcOrd="0" destOrd="0" presId="urn:microsoft.com/office/officeart/2005/8/layout/list1"/>
    <dgm:cxn modelId="{0A87E369-1333-488F-87D2-75BDC1CF282F}" type="presParOf" srcId="{AC5161D0-8A81-4B56-BD5B-6C7838193838}" destId="{05199A73-453E-48D7-8C83-7ABD9FCC5229}" srcOrd="1" destOrd="0" presId="urn:microsoft.com/office/officeart/2005/8/layout/list1"/>
    <dgm:cxn modelId="{4E9183F0-C0EF-40F9-BD66-663C9C712ED2}" type="presParOf" srcId="{8AB9D6F6-887F-46C7-A5D8-16293F4BC0CF}" destId="{9B563934-E034-47DF-BA18-BC86E9297B18}" srcOrd="9" destOrd="0" presId="urn:microsoft.com/office/officeart/2005/8/layout/list1"/>
    <dgm:cxn modelId="{B639765D-B5B4-4739-A36D-8FCACE12557F}" type="presParOf" srcId="{8AB9D6F6-887F-46C7-A5D8-16293F4BC0CF}" destId="{350A870C-9AA0-4860-A50C-81B1652B432D}" srcOrd="10" destOrd="0" presId="urn:microsoft.com/office/officeart/2005/8/layout/list1"/>
    <dgm:cxn modelId="{8AC83CAD-4A4A-4444-951C-418269CCB79A}" type="presParOf" srcId="{8AB9D6F6-887F-46C7-A5D8-16293F4BC0CF}" destId="{F270C05F-1B9B-4973-BB78-C389D1D6631D}" srcOrd="11" destOrd="0" presId="urn:microsoft.com/office/officeart/2005/8/layout/list1"/>
    <dgm:cxn modelId="{28A2979F-F04A-499B-ABDE-9798A0C9E865}" type="presParOf" srcId="{8AB9D6F6-887F-46C7-A5D8-16293F4BC0CF}" destId="{B85B6613-CD68-4106-8F52-347BF031336E}" srcOrd="12" destOrd="0" presId="urn:microsoft.com/office/officeart/2005/8/layout/list1"/>
    <dgm:cxn modelId="{E0216D9E-5BF7-47F5-9F57-68F652D2365E}" type="presParOf" srcId="{B85B6613-CD68-4106-8F52-347BF031336E}" destId="{C78F7198-775A-4E2C-95F0-A36C6AE18338}" srcOrd="0" destOrd="0" presId="urn:microsoft.com/office/officeart/2005/8/layout/list1"/>
    <dgm:cxn modelId="{15A91BAA-C0E9-4FF0-BA6F-8C6CF8D710C0}" type="presParOf" srcId="{B85B6613-CD68-4106-8F52-347BF031336E}" destId="{59E0A752-A0F5-47D9-8CB1-38B4A7A9DADE}" srcOrd="1" destOrd="0" presId="urn:microsoft.com/office/officeart/2005/8/layout/list1"/>
    <dgm:cxn modelId="{485A9F5B-B0FA-4FD2-907D-62C382808D14}" type="presParOf" srcId="{8AB9D6F6-887F-46C7-A5D8-16293F4BC0CF}" destId="{9D4FE6B7-DCA8-4FDC-A821-26ACBF5BBCCF}" srcOrd="13" destOrd="0" presId="urn:microsoft.com/office/officeart/2005/8/layout/list1"/>
    <dgm:cxn modelId="{A6B156E4-20B0-495F-959F-63FEF8239D5D}" type="presParOf" srcId="{8AB9D6F6-887F-46C7-A5D8-16293F4BC0CF}" destId="{90EC6758-910D-470E-B229-5C6F5C3E26D5}" srcOrd="14" destOrd="0" presId="urn:microsoft.com/office/officeart/2005/8/layout/list1"/>
    <dgm:cxn modelId="{40BD2C1C-3ED5-4BF3-9ABC-CBF1D3E89134}" type="presParOf" srcId="{8AB9D6F6-887F-46C7-A5D8-16293F4BC0CF}" destId="{46E06398-0D5B-4AC3-A3EE-152F4DB85939}" srcOrd="15" destOrd="0" presId="urn:microsoft.com/office/officeart/2005/8/layout/list1"/>
    <dgm:cxn modelId="{B07AFF39-11F6-4BA2-8141-B95A8F77248A}" type="presParOf" srcId="{8AB9D6F6-887F-46C7-A5D8-16293F4BC0CF}" destId="{ED3D7B2A-3712-4D67-9616-F73C2F83E255}" srcOrd="16" destOrd="0" presId="urn:microsoft.com/office/officeart/2005/8/layout/list1"/>
    <dgm:cxn modelId="{00DF601C-0C70-45E8-B59F-7CD7535FABAD}" type="presParOf" srcId="{ED3D7B2A-3712-4D67-9616-F73C2F83E255}" destId="{C9C333B9-EF00-48D4-A70A-26EBAC486C98}" srcOrd="0" destOrd="0" presId="urn:microsoft.com/office/officeart/2005/8/layout/list1"/>
    <dgm:cxn modelId="{644AE416-B920-4494-BE2E-571CB74992FB}" type="presParOf" srcId="{ED3D7B2A-3712-4D67-9616-F73C2F83E255}" destId="{47D21CB3-D999-4BD1-B111-C88CF6F296F9}" srcOrd="1" destOrd="0" presId="urn:microsoft.com/office/officeart/2005/8/layout/list1"/>
    <dgm:cxn modelId="{3899C438-AC4E-41AF-BFF5-DE9BADBC0D47}" type="presParOf" srcId="{8AB9D6F6-887F-46C7-A5D8-16293F4BC0CF}" destId="{8EA9374E-D502-4786-B8B9-CE84758992E7}" srcOrd="17" destOrd="0" presId="urn:microsoft.com/office/officeart/2005/8/layout/list1"/>
    <dgm:cxn modelId="{C89729DF-FBD8-4807-8C73-E261A7CB0D88}" type="presParOf" srcId="{8AB9D6F6-887F-46C7-A5D8-16293F4BC0CF}" destId="{30F11050-CC2F-4167-802E-9351300C9D3E}" srcOrd="18" destOrd="0" presId="urn:microsoft.com/office/officeart/2005/8/layout/list1"/>
  </dgm:cxnLst>
  <dgm:bg/>
  <dgm:whole/>
  <dgm:extLst>
    <a:ext uri="http://schemas.microsoft.com/office/drawing/2008/diagram">
      <dsp:dataModelExt xmlns=""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A27AD684-4B25-4B61-8664-976589F3AFAE}" type="doc">
      <dgm:prSet loTypeId="urn:microsoft.com/office/officeart/2005/8/layout/hierarchy6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1737CB2F-13DC-4A8C-87B4-81F3B7A9C34F}">
      <dgm:prSet phldrT="[文本]"/>
      <dgm:spPr/>
      <dgm:t>
        <a:bodyPr/>
        <a:lstStyle/>
        <a:p>
          <a:pPr algn="ctr"/>
          <a:r>
            <a:rPr lang="zh-CN" altLang="en-US" dirty="0" smtClean="0">
              <a:latin typeface="微软雅黑" pitchFamily="34" charset="-122"/>
              <a:ea typeface="微软雅黑" pitchFamily="34" charset="-122"/>
            </a:rPr>
            <a:t>生成正确代码</a:t>
          </a:r>
          <a:endParaRPr lang="zh-CN" altLang="en-US" dirty="0">
            <a:latin typeface="微软雅黑" pitchFamily="34" charset="-122"/>
            <a:ea typeface="微软雅黑" pitchFamily="34" charset="-122"/>
          </a:endParaRPr>
        </a:p>
      </dgm:t>
    </dgm:pt>
    <dgm:pt modelId="{617A1274-ED62-4F15-AD0F-CBC6BFEAFFCC}" type="parTrans" cxnId="{84B0C007-2016-4D1A-931A-40945283E23C}">
      <dgm:prSet/>
      <dgm:spPr/>
      <dgm:t>
        <a:bodyPr/>
        <a:lstStyle/>
        <a:p>
          <a:pPr algn="ctr"/>
          <a:endParaRPr lang="zh-CN" altLang="en-US"/>
        </a:p>
      </dgm:t>
    </dgm:pt>
    <dgm:pt modelId="{FE3FC3EA-61F2-4256-9C69-5B190929288B}" type="sibTrans" cxnId="{84B0C007-2016-4D1A-931A-40945283E23C}">
      <dgm:prSet/>
      <dgm:spPr/>
      <dgm:t>
        <a:bodyPr/>
        <a:lstStyle/>
        <a:p>
          <a:pPr algn="ctr"/>
          <a:endParaRPr lang="zh-CN" altLang="en-US"/>
        </a:p>
      </dgm:t>
    </dgm:pt>
    <dgm:pt modelId="{B9F70EBD-CE0A-493E-BE6B-3211B09F8F30}">
      <dgm:prSet phldrT="[文本]"/>
      <dgm:spPr/>
      <dgm:t>
        <a:bodyPr/>
        <a:lstStyle/>
        <a:p>
          <a:pPr algn="ctr"/>
          <a:r>
            <a:rPr lang="zh-CN" altLang="en-US" dirty="0" smtClean="0">
              <a:latin typeface="微软雅黑" pitchFamily="34" charset="-122"/>
              <a:ea typeface="微软雅黑" pitchFamily="34" charset="-122"/>
            </a:rPr>
            <a:t>支持多种语言</a:t>
          </a:r>
          <a:endParaRPr lang="zh-CN" altLang="en-US" dirty="0">
            <a:latin typeface="微软雅黑" pitchFamily="34" charset="-122"/>
            <a:ea typeface="微软雅黑" pitchFamily="34" charset="-122"/>
          </a:endParaRPr>
        </a:p>
      </dgm:t>
    </dgm:pt>
    <dgm:pt modelId="{35AA686F-1456-46A6-B119-E9877FF400F3}" type="parTrans" cxnId="{63803E6C-2277-4A09-B381-08B3C4DCAB6B}">
      <dgm:prSet/>
      <dgm:spPr/>
      <dgm:t>
        <a:bodyPr/>
        <a:lstStyle/>
        <a:p>
          <a:pPr algn="ctr"/>
          <a:endParaRPr lang="zh-CN" altLang="en-US"/>
        </a:p>
      </dgm:t>
    </dgm:pt>
    <dgm:pt modelId="{DFF9B57F-5FB5-43C5-97DD-3C3216D5FCF4}" type="sibTrans" cxnId="{63803E6C-2277-4A09-B381-08B3C4DCAB6B}">
      <dgm:prSet/>
      <dgm:spPr/>
      <dgm:t>
        <a:bodyPr/>
        <a:lstStyle/>
        <a:p>
          <a:pPr algn="ctr"/>
          <a:endParaRPr lang="zh-CN" altLang="en-US"/>
        </a:p>
      </dgm:t>
    </dgm:pt>
    <dgm:pt modelId="{886670B8-D2CC-43B8-B9AE-890C7C7382A8}">
      <dgm:prSet phldrT="[文本]"/>
      <dgm:spPr/>
      <dgm:t>
        <a:bodyPr/>
        <a:lstStyle/>
        <a:p>
          <a:pPr algn="ctr"/>
          <a:r>
            <a:rPr lang="zh-CN" altLang="en-US" dirty="0" smtClean="0">
              <a:latin typeface="微软雅黑" pitchFamily="34" charset="-122"/>
              <a:ea typeface="微软雅黑" pitchFamily="34" charset="-122"/>
            </a:rPr>
            <a:t>快速查看结果</a:t>
          </a:r>
          <a:endParaRPr lang="zh-CN" altLang="en-US" dirty="0">
            <a:latin typeface="微软雅黑" pitchFamily="34" charset="-122"/>
            <a:ea typeface="微软雅黑" pitchFamily="34" charset="-122"/>
          </a:endParaRPr>
        </a:p>
      </dgm:t>
    </dgm:pt>
    <dgm:pt modelId="{D3AA030B-718A-4D54-9E1D-964F706CAC17}" type="parTrans" cxnId="{5BB268F1-2080-411D-9E0B-F7E6DEF1D13D}">
      <dgm:prSet/>
      <dgm:spPr/>
      <dgm:t>
        <a:bodyPr/>
        <a:lstStyle/>
        <a:p>
          <a:pPr algn="ctr"/>
          <a:endParaRPr lang="zh-CN" altLang="en-US"/>
        </a:p>
      </dgm:t>
    </dgm:pt>
    <dgm:pt modelId="{02F41A4F-9ABD-4458-93D9-4D1B1B74DBF7}" type="sibTrans" cxnId="{5BB268F1-2080-411D-9E0B-F7E6DEF1D13D}">
      <dgm:prSet/>
      <dgm:spPr/>
      <dgm:t>
        <a:bodyPr/>
        <a:lstStyle/>
        <a:p>
          <a:pPr algn="ctr"/>
          <a:endParaRPr lang="zh-CN" altLang="en-US"/>
        </a:p>
      </dgm:t>
    </dgm:pt>
    <dgm:pt modelId="{1783A9F5-3964-47CF-9690-75528172B2D0}">
      <dgm:prSet phldrT="[文本]"/>
      <dgm:spPr/>
      <dgm:t>
        <a:bodyPr/>
        <a:lstStyle/>
        <a:p>
          <a:pPr algn="ctr"/>
          <a:r>
            <a:rPr lang="zh-CN" altLang="en-US" dirty="0" smtClean="0">
              <a:latin typeface="微软雅黑" pitchFamily="34" charset="-122"/>
              <a:ea typeface="微软雅黑" pitchFamily="34" charset="-122"/>
            </a:rPr>
            <a:t>快速查找指标</a:t>
          </a:r>
          <a:endParaRPr lang="zh-CN" altLang="en-US" dirty="0">
            <a:latin typeface="微软雅黑" pitchFamily="34" charset="-122"/>
            <a:ea typeface="微软雅黑" pitchFamily="34" charset="-122"/>
          </a:endParaRPr>
        </a:p>
      </dgm:t>
    </dgm:pt>
    <dgm:pt modelId="{C0A2FD00-975D-499F-9F80-A7C0E0D01E2B}" type="sibTrans" cxnId="{991D0893-C467-4DB7-B88C-02EE96B03EDC}">
      <dgm:prSet/>
      <dgm:spPr/>
      <dgm:t>
        <a:bodyPr/>
        <a:lstStyle/>
        <a:p>
          <a:pPr algn="ctr"/>
          <a:endParaRPr lang="zh-CN" altLang="en-US"/>
        </a:p>
      </dgm:t>
    </dgm:pt>
    <dgm:pt modelId="{4734B6B1-1C42-49D2-B705-1C38C3775ADF}" type="parTrans" cxnId="{991D0893-C467-4DB7-B88C-02EE96B03EDC}">
      <dgm:prSet/>
      <dgm:spPr/>
      <dgm:t>
        <a:bodyPr/>
        <a:lstStyle/>
        <a:p>
          <a:pPr algn="ctr"/>
          <a:endParaRPr lang="zh-CN" altLang="en-US"/>
        </a:p>
      </dgm:t>
    </dgm:pt>
    <dgm:pt modelId="{5BE5B7E7-61A6-46A2-8EEC-DE394A3135BB}">
      <dgm:prSet phldrT="[文本]"/>
      <dgm:spPr/>
      <dgm:t>
        <a:bodyPr/>
        <a:lstStyle/>
        <a:p>
          <a:pPr algn="ctr"/>
          <a:r>
            <a:rPr lang="zh-CN" altLang="en-US" dirty="0" smtClean="0">
              <a:latin typeface="微软雅黑" pitchFamily="34" charset="-122"/>
              <a:ea typeface="微软雅黑" pitchFamily="34" charset="-122"/>
            </a:rPr>
            <a:t>命令生成器</a:t>
          </a:r>
          <a:endParaRPr lang="zh-CN" altLang="en-US" dirty="0">
            <a:latin typeface="微软雅黑" pitchFamily="34" charset="-122"/>
            <a:ea typeface="微软雅黑" pitchFamily="34" charset="-122"/>
          </a:endParaRPr>
        </a:p>
      </dgm:t>
    </dgm:pt>
    <dgm:pt modelId="{2109EAE1-8D13-482A-8B15-FAB50276A6E5}" type="sibTrans" cxnId="{69E65BDD-0385-4755-8E7F-A88355659518}">
      <dgm:prSet/>
      <dgm:spPr/>
      <dgm:t>
        <a:bodyPr/>
        <a:lstStyle/>
        <a:p>
          <a:pPr algn="ctr"/>
          <a:endParaRPr lang="zh-CN" altLang="en-US"/>
        </a:p>
      </dgm:t>
    </dgm:pt>
    <dgm:pt modelId="{1118DF09-3578-4607-B692-A8B2B3BC436D}" type="parTrans" cxnId="{69E65BDD-0385-4755-8E7F-A88355659518}">
      <dgm:prSet/>
      <dgm:spPr/>
      <dgm:t>
        <a:bodyPr/>
        <a:lstStyle/>
        <a:p>
          <a:pPr algn="ctr"/>
          <a:endParaRPr lang="zh-CN" altLang="en-US"/>
        </a:p>
      </dgm:t>
    </dgm:pt>
    <dgm:pt modelId="{6F756F34-1ED1-43F0-85A9-714EAF9BE38A}" type="pres">
      <dgm:prSet presAssocID="{A27AD684-4B25-4B61-8664-976589F3AFAE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253903DB-F97D-44C5-A0AA-5373F4DB2781}" type="pres">
      <dgm:prSet presAssocID="{A27AD684-4B25-4B61-8664-976589F3AFAE}" presName="hierFlow" presStyleCnt="0"/>
      <dgm:spPr/>
      <dgm:t>
        <a:bodyPr/>
        <a:lstStyle/>
        <a:p>
          <a:endParaRPr lang="zh-CN" altLang="en-US"/>
        </a:p>
      </dgm:t>
    </dgm:pt>
    <dgm:pt modelId="{575877C9-ADA2-455A-A304-255E447965BF}" type="pres">
      <dgm:prSet presAssocID="{A27AD684-4B25-4B61-8664-976589F3AFAE}" presName="hierChild1" presStyleCnt="0">
        <dgm:presLayoutVars>
          <dgm:chPref val="1"/>
          <dgm:animOne val="branch"/>
          <dgm:animLvl val="lvl"/>
        </dgm:presLayoutVars>
      </dgm:prSet>
      <dgm:spPr/>
      <dgm:t>
        <a:bodyPr/>
        <a:lstStyle/>
        <a:p>
          <a:endParaRPr lang="zh-CN" altLang="en-US"/>
        </a:p>
      </dgm:t>
    </dgm:pt>
    <dgm:pt modelId="{0A25EFF8-35F1-4087-91D1-9FB5A0AC77C4}" type="pres">
      <dgm:prSet presAssocID="{5BE5B7E7-61A6-46A2-8EEC-DE394A3135BB}" presName="Name14" presStyleCnt="0"/>
      <dgm:spPr/>
      <dgm:t>
        <a:bodyPr/>
        <a:lstStyle/>
        <a:p>
          <a:endParaRPr lang="zh-CN" altLang="en-US"/>
        </a:p>
      </dgm:t>
    </dgm:pt>
    <dgm:pt modelId="{5ADB4057-BA9A-41B9-AFFF-542B529E6D77}" type="pres">
      <dgm:prSet presAssocID="{5BE5B7E7-61A6-46A2-8EEC-DE394A3135BB}" presName="level1Shape" presStyleLbl="node0" presStyleIdx="0" presStyleCnt="1" custScaleX="116833" custScaleY="66442" custLinFactNeighborX="2270" custLinFactNeighborY="-27162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608E320C-E020-438A-AD8A-4B5D3B870FEB}" type="pres">
      <dgm:prSet presAssocID="{5BE5B7E7-61A6-46A2-8EEC-DE394A3135BB}" presName="hierChild2" presStyleCnt="0"/>
      <dgm:spPr/>
      <dgm:t>
        <a:bodyPr/>
        <a:lstStyle/>
        <a:p>
          <a:endParaRPr lang="zh-CN" altLang="en-US"/>
        </a:p>
      </dgm:t>
    </dgm:pt>
    <dgm:pt modelId="{8F09049F-1086-49B4-886C-DDF4B5F63948}" type="pres">
      <dgm:prSet presAssocID="{4734B6B1-1C42-49D2-B705-1C38C3775ADF}" presName="Name19" presStyleLbl="parChTrans1D2" presStyleIdx="0" presStyleCnt="4"/>
      <dgm:spPr/>
      <dgm:t>
        <a:bodyPr/>
        <a:lstStyle/>
        <a:p>
          <a:endParaRPr lang="zh-CN" altLang="en-US"/>
        </a:p>
      </dgm:t>
    </dgm:pt>
    <dgm:pt modelId="{D9719E26-7382-4CFB-8888-083A5AAE92B8}" type="pres">
      <dgm:prSet presAssocID="{1783A9F5-3964-47CF-9690-75528172B2D0}" presName="Name21" presStyleCnt="0"/>
      <dgm:spPr/>
      <dgm:t>
        <a:bodyPr/>
        <a:lstStyle/>
        <a:p>
          <a:endParaRPr lang="zh-CN" altLang="en-US"/>
        </a:p>
      </dgm:t>
    </dgm:pt>
    <dgm:pt modelId="{D1B66269-5430-42C6-BC0A-152473B23B36}" type="pres">
      <dgm:prSet presAssocID="{1783A9F5-3964-47CF-9690-75528172B2D0}" presName="level2Shape" presStyleLbl="node2" presStyleIdx="0" presStyleCnt="4" custScaleY="68480"/>
      <dgm:spPr/>
      <dgm:t>
        <a:bodyPr/>
        <a:lstStyle/>
        <a:p>
          <a:endParaRPr lang="zh-CN" altLang="en-US"/>
        </a:p>
      </dgm:t>
    </dgm:pt>
    <dgm:pt modelId="{E19B476D-65AC-4CBA-B7C9-8F359B6FD8D0}" type="pres">
      <dgm:prSet presAssocID="{1783A9F5-3964-47CF-9690-75528172B2D0}" presName="hierChild3" presStyleCnt="0"/>
      <dgm:spPr/>
      <dgm:t>
        <a:bodyPr/>
        <a:lstStyle/>
        <a:p>
          <a:endParaRPr lang="zh-CN" altLang="en-US"/>
        </a:p>
      </dgm:t>
    </dgm:pt>
    <dgm:pt modelId="{94B6210A-C761-4D32-9183-0941717B53BD}" type="pres">
      <dgm:prSet presAssocID="{617A1274-ED62-4F15-AD0F-CBC6BFEAFFCC}" presName="Name19" presStyleLbl="parChTrans1D2" presStyleIdx="1" presStyleCnt="4"/>
      <dgm:spPr/>
      <dgm:t>
        <a:bodyPr/>
        <a:lstStyle/>
        <a:p>
          <a:endParaRPr lang="zh-CN" altLang="en-US"/>
        </a:p>
      </dgm:t>
    </dgm:pt>
    <dgm:pt modelId="{D801169E-F727-4562-A5CB-A1842ACA9A63}" type="pres">
      <dgm:prSet presAssocID="{1737CB2F-13DC-4A8C-87B4-81F3B7A9C34F}" presName="Name21" presStyleCnt="0"/>
      <dgm:spPr/>
      <dgm:t>
        <a:bodyPr/>
        <a:lstStyle/>
        <a:p>
          <a:endParaRPr lang="zh-CN" altLang="en-US"/>
        </a:p>
      </dgm:t>
    </dgm:pt>
    <dgm:pt modelId="{AAAACB72-85B1-4EFC-A886-B187021226DE}" type="pres">
      <dgm:prSet presAssocID="{1737CB2F-13DC-4A8C-87B4-81F3B7A9C34F}" presName="level2Shape" presStyleLbl="node2" presStyleIdx="1" presStyleCnt="4" custScaleY="68480"/>
      <dgm:spPr/>
      <dgm:t>
        <a:bodyPr/>
        <a:lstStyle/>
        <a:p>
          <a:endParaRPr lang="zh-CN" altLang="en-US"/>
        </a:p>
      </dgm:t>
    </dgm:pt>
    <dgm:pt modelId="{E2A92BFE-BEC8-4D2C-9F69-B1E146C36CEF}" type="pres">
      <dgm:prSet presAssocID="{1737CB2F-13DC-4A8C-87B4-81F3B7A9C34F}" presName="hierChild3" presStyleCnt="0"/>
      <dgm:spPr/>
      <dgm:t>
        <a:bodyPr/>
        <a:lstStyle/>
        <a:p>
          <a:endParaRPr lang="zh-CN" altLang="en-US"/>
        </a:p>
      </dgm:t>
    </dgm:pt>
    <dgm:pt modelId="{46F286BD-2C88-4487-8930-D96805615793}" type="pres">
      <dgm:prSet presAssocID="{35AA686F-1456-46A6-B119-E9877FF400F3}" presName="Name19" presStyleLbl="parChTrans1D2" presStyleIdx="2" presStyleCnt="4"/>
      <dgm:spPr/>
      <dgm:t>
        <a:bodyPr/>
        <a:lstStyle/>
        <a:p>
          <a:endParaRPr lang="zh-CN" altLang="en-US"/>
        </a:p>
      </dgm:t>
    </dgm:pt>
    <dgm:pt modelId="{CE61B44D-8E43-48E8-9F00-829BB526BE53}" type="pres">
      <dgm:prSet presAssocID="{B9F70EBD-CE0A-493E-BE6B-3211B09F8F30}" presName="Name21" presStyleCnt="0"/>
      <dgm:spPr/>
      <dgm:t>
        <a:bodyPr/>
        <a:lstStyle/>
        <a:p>
          <a:endParaRPr lang="zh-CN" altLang="en-US"/>
        </a:p>
      </dgm:t>
    </dgm:pt>
    <dgm:pt modelId="{028A3938-6317-41BC-98FD-092AC48B5B71}" type="pres">
      <dgm:prSet presAssocID="{B9F70EBD-CE0A-493E-BE6B-3211B09F8F30}" presName="level2Shape" presStyleLbl="node2" presStyleIdx="2" presStyleCnt="4" custScaleY="68480"/>
      <dgm:spPr/>
      <dgm:t>
        <a:bodyPr/>
        <a:lstStyle/>
        <a:p>
          <a:endParaRPr lang="zh-CN" altLang="en-US"/>
        </a:p>
      </dgm:t>
    </dgm:pt>
    <dgm:pt modelId="{B8A6492B-8982-4F07-A828-82240EB0C13D}" type="pres">
      <dgm:prSet presAssocID="{B9F70EBD-CE0A-493E-BE6B-3211B09F8F30}" presName="hierChild3" presStyleCnt="0"/>
      <dgm:spPr/>
      <dgm:t>
        <a:bodyPr/>
        <a:lstStyle/>
        <a:p>
          <a:endParaRPr lang="zh-CN" altLang="en-US"/>
        </a:p>
      </dgm:t>
    </dgm:pt>
    <dgm:pt modelId="{DCEE6FD4-F24E-45DA-8D39-AC464543AE0E}" type="pres">
      <dgm:prSet presAssocID="{D3AA030B-718A-4D54-9E1D-964F706CAC17}" presName="Name19" presStyleLbl="parChTrans1D2" presStyleIdx="3" presStyleCnt="4"/>
      <dgm:spPr/>
      <dgm:t>
        <a:bodyPr/>
        <a:lstStyle/>
        <a:p>
          <a:endParaRPr lang="zh-CN" altLang="en-US"/>
        </a:p>
      </dgm:t>
    </dgm:pt>
    <dgm:pt modelId="{7AF9543D-B3A8-4869-9C6D-3D8B5FB49D35}" type="pres">
      <dgm:prSet presAssocID="{886670B8-D2CC-43B8-B9AE-890C7C7382A8}" presName="Name21" presStyleCnt="0"/>
      <dgm:spPr/>
      <dgm:t>
        <a:bodyPr/>
        <a:lstStyle/>
        <a:p>
          <a:endParaRPr lang="zh-CN" altLang="en-US"/>
        </a:p>
      </dgm:t>
    </dgm:pt>
    <dgm:pt modelId="{F4F34EA5-0BB7-4EB3-A9C4-763D5177968D}" type="pres">
      <dgm:prSet presAssocID="{886670B8-D2CC-43B8-B9AE-890C7C7382A8}" presName="level2Shape" presStyleLbl="node2" presStyleIdx="3" presStyleCnt="4" custScaleY="68480"/>
      <dgm:spPr/>
      <dgm:t>
        <a:bodyPr/>
        <a:lstStyle/>
        <a:p>
          <a:endParaRPr lang="zh-CN" altLang="en-US"/>
        </a:p>
      </dgm:t>
    </dgm:pt>
    <dgm:pt modelId="{E313BF54-1C91-4109-94A5-32F19D1A7CA9}" type="pres">
      <dgm:prSet presAssocID="{886670B8-D2CC-43B8-B9AE-890C7C7382A8}" presName="hierChild3" presStyleCnt="0"/>
      <dgm:spPr/>
      <dgm:t>
        <a:bodyPr/>
        <a:lstStyle/>
        <a:p>
          <a:endParaRPr lang="zh-CN" altLang="en-US"/>
        </a:p>
      </dgm:t>
    </dgm:pt>
    <dgm:pt modelId="{C3D5890B-8E62-41AB-A9BE-628718F179A3}" type="pres">
      <dgm:prSet presAssocID="{A27AD684-4B25-4B61-8664-976589F3AFAE}" presName="bgShapesFlow" presStyleCnt="0"/>
      <dgm:spPr/>
      <dgm:t>
        <a:bodyPr/>
        <a:lstStyle/>
        <a:p>
          <a:endParaRPr lang="zh-CN" altLang="en-US"/>
        </a:p>
      </dgm:t>
    </dgm:pt>
  </dgm:ptLst>
  <dgm:cxnLst>
    <dgm:cxn modelId="{67786CF2-8C4B-4B2B-A37E-5CD3872D3B75}" type="presOf" srcId="{886670B8-D2CC-43B8-B9AE-890C7C7382A8}" destId="{F4F34EA5-0BB7-4EB3-A9C4-763D5177968D}" srcOrd="0" destOrd="0" presId="urn:microsoft.com/office/officeart/2005/8/layout/hierarchy6"/>
    <dgm:cxn modelId="{7B0D990D-DBC8-40F4-BD82-7EEEEEA61AC8}" type="presOf" srcId="{35AA686F-1456-46A6-B119-E9877FF400F3}" destId="{46F286BD-2C88-4487-8930-D96805615793}" srcOrd="0" destOrd="0" presId="urn:microsoft.com/office/officeart/2005/8/layout/hierarchy6"/>
    <dgm:cxn modelId="{2A8FC7E9-D899-40B3-85D4-284118EBC1F0}" type="presOf" srcId="{D3AA030B-718A-4D54-9E1D-964F706CAC17}" destId="{DCEE6FD4-F24E-45DA-8D39-AC464543AE0E}" srcOrd="0" destOrd="0" presId="urn:microsoft.com/office/officeart/2005/8/layout/hierarchy6"/>
    <dgm:cxn modelId="{847527F6-C616-4942-9537-61B6CB7E14E6}" type="presOf" srcId="{4734B6B1-1C42-49D2-B705-1C38C3775ADF}" destId="{8F09049F-1086-49B4-886C-DDF4B5F63948}" srcOrd="0" destOrd="0" presId="urn:microsoft.com/office/officeart/2005/8/layout/hierarchy6"/>
    <dgm:cxn modelId="{69E65BDD-0385-4755-8E7F-A88355659518}" srcId="{A27AD684-4B25-4B61-8664-976589F3AFAE}" destId="{5BE5B7E7-61A6-46A2-8EEC-DE394A3135BB}" srcOrd="0" destOrd="0" parTransId="{1118DF09-3578-4607-B692-A8B2B3BC436D}" sibTransId="{2109EAE1-8D13-482A-8B15-FAB50276A6E5}"/>
    <dgm:cxn modelId="{C61D836B-4170-4F6B-9B19-623FAFE0CFF5}" type="presOf" srcId="{1737CB2F-13DC-4A8C-87B4-81F3B7A9C34F}" destId="{AAAACB72-85B1-4EFC-A886-B187021226DE}" srcOrd="0" destOrd="0" presId="urn:microsoft.com/office/officeart/2005/8/layout/hierarchy6"/>
    <dgm:cxn modelId="{63803E6C-2277-4A09-B381-08B3C4DCAB6B}" srcId="{5BE5B7E7-61A6-46A2-8EEC-DE394A3135BB}" destId="{B9F70EBD-CE0A-493E-BE6B-3211B09F8F30}" srcOrd="2" destOrd="0" parTransId="{35AA686F-1456-46A6-B119-E9877FF400F3}" sibTransId="{DFF9B57F-5FB5-43C5-97DD-3C3216D5FCF4}"/>
    <dgm:cxn modelId="{5E4191F9-E17F-40E7-ABF3-E36CD413467D}" type="presOf" srcId="{B9F70EBD-CE0A-493E-BE6B-3211B09F8F30}" destId="{028A3938-6317-41BC-98FD-092AC48B5B71}" srcOrd="0" destOrd="0" presId="urn:microsoft.com/office/officeart/2005/8/layout/hierarchy6"/>
    <dgm:cxn modelId="{3FE680F3-BD06-4DB9-9C69-4D6743F4941A}" type="presOf" srcId="{5BE5B7E7-61A6-46A2-8EEC-DE394A3135BB}" destId="{5ADB4057-BA9A-41B9-AFFF-542B529E6D77}" srcOrd="0" destOrd="0" presId="urn:microsoft.com/office/officeart/2005/8/layout/hierarchy6"/>
    <dgm:cxn modelId="{97722C01-69C4-4AB3-A419-35DE4D18CDE9}" type="presOf" srcId="{617A1274-ED62-4F15-AD0F-CBC6BFEAFFCC}" destId="{94B6210A-C761-4D32-9183-0941717B53BD}" srcOrd="0" destOrd="0" presId="urn:microsoft.com/office/officeart/2005/8/layout/hierarchy6"/>
    <dgm:cxn modelId="{99828F56-D6AD-4D11-AFD8-BED07971FA51}" type="presOf" srcId="{1783A9F5-3964-47CF-9690-75528172B2D0}" destId="{D1B66269-5430-42C6-BC0A-152473B23B36}" srcOrd="0" destOrd="0" presId="urn:microsoft.com/office/officeart/2005/8/layout/hierarchy6"/>
    <dgm:cxn modelId="{84B0C007-2016-4D1A-931A-40945283E23C}" srcId="{5BE5B7E7-61A6-46A2-8EEC-DE394A3135BB}" destId="{1737CB2F-13DC-4A8C-87B4-81F3B7A9C34F}" srcOrd="1" destOrd="0" parTransId="{617A1274-ED62-4F15-AD0F-CBC6BFEAFFCC}" sibTransId="{FE3FC3EA-61F2-4256-9C69-5B190929288B}"/>
    <dgm:cxn modelId="{A584AE2E-46DD-4AC3-B263-D3B21FDDDA48}" type="presOf" srcId="{A27AD684-4B25-4B61-8664-976589F3AFAE}" destId="{6F756F34-1ED1-43F0-85A9-714EAF9BE38A}" srcOrd="0" destOrd="0" presId="urn:microsoft.com/office/officeart/2005/8/layout/hierarchy6"/>
    <dgm:cxn modelId="{5BB268F1-2080-411D-9E0B-F7E6DEF1D13D}" srcId="{5BE5B7E7-61A6-46A2-8EEC-DE394A3135BB}" destId="{886670B8-D2CC-43B8-B9AE-890C7C7382A8}" srcOrd="3" destOrd="0" parTransId="{D3AA030B-718A-4D54-9E1D-964F706CAC17}" sibTransId="{02F41A4F-9ABD-4458-93D9-4D1B1B74DBF7}"/>
    <dgm:cxn modelId="{991D0893-C467-4DB7-B88C-02EE96B03EDC}" srcId="{5BE5B7E7-61A6-46A2-8EEC-DE394A3135BB}" destId="{1783A9F5-3964-47CF-9690-75528172B2D0}" srcOrd="0" destOrd="0" parTransId="{4734B6B1-1C42-49D2-B705-1C38C3775ADF}" sibTransId="{C0A2FD00-975D-499F-9F80-A7C0E0D01E2B}"/>
    <dgm:cxn modelId="{94D235E7-37A1-4282-B461-88DA8E554E87}" type="presParOf" srcId="{6F756F34-1ED1-43F0-85A9-714EAF9BE38A}" destId="{253903DB-F97D-44C5-A0AA-5373F4DB2781}" srcOrd="0" destOrd="0" presId="urn:microsoft.com/office/officeart/2005/8/layout/hierarchy6"/>
    <dgm:cxn modelId="{6E30E823-CEAF-421B-A61D-0DF388915AD7}" type="presParOf" srcId="{253903DB-F97D-44C5-A0AA-5373F4DB2781}" destId="{575877C9-ADA2-455A-A304-255E447965BF}" srcOrd="0" destOrd="0" presId="urn:microsoft.com/office/officeart/2005/8/layout/hierarchy6"/>
    <dgm:cxn modelId="{B7714C12-884E-43A6-B0BF-D90D8EF9ADB7}" type="presParOf" srcId="{575877C9-ADA2-455A-A304-255E447965BF}" destId="{0A25EFF8-35F1-4087-91D1-9FB5A0AC77C4}" srcOrd="0" destOrd="0" presId="urn:microsoft.com/office/officeart/2005/8/layout/hierarchy6"/>
    <dgm:cxn modelId="{B374087A-392E-4C78-BB95-C5A58ACD309E}" type="presParOf" srcId="{0A25EFF8-35F1-4087-91D1-9FB5A0AC77C4}" destId="{5ADB4057-BA9A-41B9-AFFF-542B529E6D77}" srcOrd="0" destOrd="0" presId="urn:microsoft.com/office/officeart/2005/8/layout/hierarchy6"/>
    <dgm:cxn modelId="{3D8C192C-4C93-4BD6-9B27-ADE2E4489B30}" type="presParOf" srcId="{0A25EFF8-35F1-4087-91D1-9FB5A0AC77C4}" destId="{608E320C-E020-438A-AD8A-4B5D3B870FEB}" srcOrd="1" destOrd="0" presId="urn:microsoft.com/office/officeart/2005/8/layout/hierarchy6"/>
    <dgm:cxn modelId="{717DABB6-1634-427D-B583-1628998E9E52}" type="presParOf" srcId="{608E320C-E020-438A-AD8A-4B5D3B870FEB}" destId="{8F09049F-1086-49B4-886C-DDF4B5F63948}" srcOrd="0" destOrd="0" presId="urn:microsoft.com/office/officeart/2005/8/layout/hierarchy6"/>
    <dgm:cxn modelId="{3D21B025-F857-46EE-8DAC-41DA88CFE51E}" type="presParOf" srcId="{608E320C-E020-438A-AD8A-4B5D3B870FEB}" destId="{D9719E26-7382-4CFB-8888-083A5AAE92B8}" srcOrd="1" destOrd="0" presId="urn:microsoft.com/office/officeart/2005/8/layout/hierarchy6"/>
    <dgm:cxn modelId="{0BA71EC5-2E25-43DA-BC32-62D69E89149A}" type="presParOf" srcId="{D9719E26-7382-4CFB-8888-083A5AAE92B8}" destId="{D1B66269-5430-42C6-BC0A-152473B23B36}" srcOrd="0" destOrd="0" presId="urn:microsoft.com/office/officeart/2005/8/layout/hierarchy6"/>
    <dgm:cxn modelId="{8D00CBBD-4DA9-4DB5-A484-03477BEEC285}" type="presParOf" srcId="{D9719E26-7382-4CFB-8888-083A5AAE92B8}" destId="{E19B476D-65AC-4CBA-B7C9-8F359B6FD8D0}" srcOrd="1" destOrd="0" presId="urn:microsoft.com/office/officeart/2005/8/layout/hierarchy6"/>
    <dgm:cxn modelId="{C7872B5C-AEFB-4DF8-A8F2-6CBA842BF29A}" type="presParOf" srcId="{608E320C-E020-438A-AD8A-4B5D3B870FEB}" destId="{94B6210A-C761-4D32-9183-0941717B53BD}" srcOrd="2" destOrd="0" presId="urn:microsoft.com/office/officeart/2005/8/layout/hierarchy6"/>
    <dgm:cxn modelId="{CE6FC036-92F0-424C-88D0-FEE6D0472863}" type="presParOf" srcId="{608E320C-E020-438A-AD8A-4B5D3B870FEB}" destId="{D801169E-F727-4562-A5CB-A1842ACA9A63}" srcOrd="3" destOrd="0" presId="urn:microsoft.com/office/officeart/2005/8/layout/hierarchy6"/>
    <dgm:cxn modelId="{8BB4D619-E5F8-4CCD-B1CA-2A901EFD076A}" type="presParOf" srcId="{D801169E-F727-4562-A5CB-A1842ACA9A63}" destId="{AAAACB72-85B1-4EFC-A886-B187021226DE}" srcOrd="0" destOrd="0" presId="urn:microsoft.com/office/officeart/2005/8/layout/hierarchy6"/>
    <dgm:cxn modelId="{CC6DEC67-035D-404D-9654-4B71092EF475}" type="presParOf" srcId="{D801169E-F727-4562-A5CB-A1842ACA9A63}" destId="{E2A92BFE-BEC8-4D2C-9F69-B1E146C36CEF}" srcOrd="1" destOrd="0" presId="urn:microsoft.com/office/officeart/2005/8/layout/hierarchy6"/>
    <dgm:cxn modelId="{F07D1EF8-94B7-4504-BDB9-B74E3997D35D}" type="presParOf" srcId="{608E320C-E020-438A-AD8A-4B5D3B870FEB}" destId="{46F286BD-2C88-4487-8930-D96805615793}" srcOrd="4" destOrd="0" presId="urn:microsoft.com/office/officeart/2005/8/layout/hierarchy6"/>
    <dgm:cxn modelId="{CC0A06C7-C996-4216-9DC1-359453D5CADF}" type="presParOf" srcId="{608E320C-E020-438A-AD8A-4B5D3B870FEB}" destId="{CE61B44D-8E43-48E8-9F00-829BB526BE53}" srcOrd="5" destOrd="0" presId="urn:microsoft.com/office/officeart/2005/8/layout/hierarchy6"/>
    <dgm:cxn modelId="{6853571B-93C0-41E7-B4A1-7037DE2652BA}" type="presParOf" srcId="{CE61B44D-8E43-48E8-9F00-829BB526BE53}" destId="{028A3938-6317-41BC-98FD-092AC48B5B71}" srcOrd="0" destOrd="0" presId="urn:microsoft.com/office/officeart/2005/8/layout/hierarchy6"/>
    <dgm:cxn modelId="{C7A636DD-CEFF-4587-A816-B623E62CC344}" type="presParOf" srcId="{CE61B44D-8E43-48E8-9F00-829BB526BE53}" destId="{B8A6492B-8982-4F07-A828-82240EB0C13D}" srcOrd="1" destOrd="0" presId="urn:microsoft.com/office/officeart/2005/8/layout/hierarchy6"/>
    <dgm:cxn modelId="{72B4AC14-EA9A-4C68-9041-CEB9DBA8ECEB}" type="presParOf" srcId="{608E320C-E020-438A-AD8A-4B5D3B870FEB}" destId="{DCEE6FD4-F24E-45DA-8D39-AC464543AE0E}" srcOrd="6" destOrd="0" presId="urn:microsoft.com/office/officeart/2005/8/layout/hierarchy6"/>
    <dgm:cxn modelId="{33A224EF-1DF0-4669-94DB-6B5E846BF2A2}" type="presParOf" srcId="{608E320C-E020-438A-AD8A-4B5D3B870FEB}" destId="{7AF9543D-B3A8-4869-9C6D-3D8B5FB49D35}" srcOrd="7" destOrd="0" presId="urn:microsoft.com/office/officeart/2005/8/layout/hierarchy6"/>
    <dgm:cxn modelId="{73C77169-D2D8-4573-8894-90292B488D90}" type="presParOf" srcId="{7AF9543D-B3A8-4869-9C6D-3D8B5FB49D35}" destId="{F4F34EA5-0BB7-4EB3-A9C4-763D5177968D}" srcOrd="0" destOrd="0" presId="urn:microsoft.com/office/officeart/2005/8/layout/hierarchy6"/>
    <dgm:cxn modelId="{E99BBB9C-172D-4289-A14C-D96D7343526E}" type="presParOf" srcId="{7AF9543D-B3A8-4869-9C6D-3D8B5FB49D35}" destId="{E313BF54-1C91-4109-94A5-32F19D1A7CA9}" srcOrd="1" destOrd="0" presId="urn:microsoft.com/office/officeart/2005/8/layout/hierarchy6"/>
    <dgm:cxn modelId="{C92BC2ED-2FEA-466C-AA95-BCAE6C9BD804}" type="presParOf" srcId="{6F756F34-1ED1-43F0-85A9-714EAF9BE38A}" destId="{C3D5890B-8E62-41AB-A9BE-628718F179A3}" srcOrd="1" destOrd="0" presId="urn:microsoft.com/office/officeart/2005/8/layout/hierarchy6"/>
  </dgm:cxnLst>
  <dgm:bg/>
  <dgm:whole/>
  <dgm:extLst>
    <a:ext uri="http://schemas.microsoft.com/office/drawing/2008/diagram">
      <dsp:dataModelExt xmlns=""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0A61E4CB-F0F6-4F01-B1DD-0E9E9BBC67D0}" type="doc">
      <dgm:prSet loTypeId="urn:microsoft.com/office/officeart/2005/8/layout/list1" loCatId="list" qsTypeId="urn:microsoft.com/office/officeart/2005/8/quickstyle/simple4" qsCatId="simple" csTypeId="urn:microsoft.com/office/officeart/2005/8/colors/accent2_1" csCatId="accent2" phldr="1"/>
      <dgm:spPr/>
      <dgm:t>
        <a:bodyPr/>
        <a:lstStyle/>
        <a:p>
          <a:endParaRPr lang="zh-CN" altLang="en-US"/>
        </a:p>
      </dgm:t>
    </dgm:pt>
    <dgm:pt modelId="{3050025C-2C61-4AF5-9B52-5A8BA0107838}">
      <dgm:prSet phldrT="[文本]"/>
      <dgm:spPr/>
      <dgm:t>
        <a:bodyPr/>
        <a:lstStyle/>
        <a:p>
          <a:r>
            <a:rPr lang="zh-CN" altLang="en-US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</a:rPr>
            <a:t>万得量化平台架构</a:t>
          </a:r>
          <a:endParaRPr lang="zh-CN" altLang="en-US" dirty="0">
            <a:solidFill>
              <a:schemeClr val="tx1"/>
            </a:solidFill>
            <a:latin typeface="微软雅黑" pitchFamily="34" charset="-122"/>
            <a:ea typeface="微软雅黑" pitchFamily="34" charset="-122"/>
          </a:endParaRPr>
        </a:p>
      </dgm:t>
    </dgm:pt>
    <dgm:pt modelId="{7730697B-6F51-47F5-AC88-8BBDED3BD7F5}" type="parTrans" cxnId="{A74F6FBC-13E6-4453-A3EF-164FB52B2BF6}">
      <dgm:prSet/>
      <dgm:spPr/>
      <dgm:t>
        <a:bodyPr/>
        <a:lstStyle/>
        <a:p>
          <a:endParaRPr lang="zh-CN" altLang="en-US">
            <a:latin typeface="微软雅黑" pitchFamily="34" charset="-122"/>
            <a:ea typeface="微软雅黑" pitchFamily="34" charset="-122"/>
          </a:endParaRPr>
        </a:p>
      </dgm:t>
    </dgm:pt>
    <dgm:pt modelId="{E4E67624-514C-485C-BE6C-EA1B8F88B70F}" type="sibTrans" cxnId="{A74F6FBC-13E6-4453-A3EF-164FB52B2BF6}">
      <dgm:prSet/>
      <dgm:spPr/>
      <dgm:t>
        <a:bodyPr/>
        <a:lstStyle/>
        <a:p>
          <a:endParaRPr lang="zh-CN" altLang="en-US">
            <a:latin typeface="微软雅黑" pitchFamily="34" charset="-122"/>
            <a:ea typeface="微软雅黑" pitchFamily="34" charset="-122"/>
          </a:endParaRPr>
        </a:p>
      </dgm:t>
    </dgm:pt>
    <dgm:pt modelId="{FC3B0B0C-2FB6-4A9C-AC1D-FD75461CEA4D}">
      <dgm:prSet phldrT="[文本]"/>
      <dgm:spPr/>
      <dgm:t>
        <a:bodyPr/>
        <a:lstStyle/>
        <a:p>
          <a:r>
            <a:rPr lang="zh-CN" altLang="en-US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</a:rPr>
            <a:t>启用</a:t>
          </a:r>
          <a:r>
            <a:rPr lang="en-US" altLang="zh-CN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</a:rPr>
            <a:t>C#</a:t>
          </a:r>
          <a:r>
            <a:rPr lang="zh-CN" altLang="en-US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</a:rPr>
            <a:t>量化接口</a:t>
          </a:r>
          <a:endParaRPr lang="zh-CN" altLang="en-US" dirty="0">
            <a:solidFill>
              <a:schemeClr val="tx1"/>
            </a:solidFill>
            <a:latin typeface="微软雅黑" pitchFamily="34" charset="-122"/>
            <a:ea typeface="微软雅黑" pitchFamily="34" charset="-122"/>
          </a:endParaRPr>
        </a:p>
      </dgm:t>
    </dgm:pt>
    <dgm:pt modelId="{CEA54DC8-72DC-4744-BAC4-AF1538B41971}" type="parTrans" cxnId="{C30A36B7-C43B-43A1-8CF8-7D1AAE4A845F}">
      <dgm:prSet/>
      <dgm:spPr/>
      <dgm:t>
        <a:bodyPr/>
        <a:lstStyle/>
        <a:p>
          <a:endParaRPr lang="zh-CN" altLang="en-US">
            <a:latin typeface="微软雅黑" pitchFamily="34" charset="-122"/>
            <a:ea typeface="微软雅黑" pitchFamily="34" charset="-122"/>
          </a:endParaRPr>
        </a:p>
      </dgm:t>
    </dgm:pt>
    <dgm:pt modelId="{6434386C-A1EB-456F-96C2-8D2083FE6365}" type="sibTrans" cxnId="{C30A36B7-C43B-43A1-8CF8-7D1AAE4A845F}">
      <dgm:prSet/>
      <dgm:spPr/>
      <dgm:t>
        <a:bodyPr/>
        <a:lstStyle/>
        <a:p>
          <a:endParaRPr lang="zh-CN" altLang="en-US">
            <a:latin typeface="微软雅黑" pitchFamily="34" charset="-122"/>
            <a:ea typeface="微软雅黑" pitchFamily="34" charset="-122"/>
          </a:endParaRPr>
        </a:p>
      </dgm:t>
    </dgm:pt>
    <dgm:pt modelId="{FE4BF61D-049B-4B6F-8B69-82EF6B45AF10}">
      <dgm:prSet phldrT="[文本]"/>
      <dgm:spPr/>
      <dgm:t>
        <a:bodyPr/>
        <a:lstStyle/>
        <a:p>
          <a:r>
            <a:rPr lang="zh-CN" altLang="en-US" dirty="0" smtClean="0">
              <a:latin typeface="微软雅黑" pitchFamily="34" charset="-122"/>
              <a:ea typeface="微软雅黑" pitchFamily="34" charset="-122"/>
            </a:rPr>
            <a:t>数据接口</a:t>
          </a:r>
          <a:endParaRPr lang="zh-CN" altLang="en-US" dirty="0">
            <a:latin typeface="微软雅黑" pitchFamily="34" charset="-122"/>
            <a:ea typeface="微软雅黑" pitchFamily="34" charset="-122"/>
          </a:endParaRPr>
        </a:p>
      </dgm:t>
    </dgm:pt>
    <dgm:pt modelId="{987EE3E3-9BD7-4F69-9B69-0463AFD3554E}" type="parTrans" cxnId="{C6433B53-4BE8-477C-8476-94A89FB9E7BF}">
      <dgm:prSet/>
      <dgm:spPr/>
      <dgm:t>
        <a:bodyPr/>
        <a:lstStyle/>
        <a:p>
          <a:endParaRPr lang="zh-CN" altLang="en-US">
            <a:latin typeface="微软雅黑" pitchFamily="34" charset="-122"/>
            <a:ea typeface="微软雅黑" pitchFamily="34" charset="-122"/>
          </a:endParaRPr>
        </a:p>
      </dgm:t>
    </dgm:pt>
    <dgm:pt modelId="{5DAA9C00-5B47-4E31-BC1F-D153091C035C}" type="sibTrans" cxnId="{C6433B53-4BE8-477C-8476-94A89FB9E7BF}">
      <dgm:prSet/>
      <dgm:spPr/>
      <dgm:t>
        <a:bodyPr/>
        <a:lstStyle/>
        <a:p>
          <a:endParaRPr lang="zh-CN" altLang="en-US">
            <a:latin typeface="微软雅黑" pitchFamily="34" charset="-122"/>
            <a:ea typeface="微软雅黑" pitchFamily="34" charset="-122"/>
          </a:endParaRPr>
        </a:p>
      </dgm:t>
    </dgm:pt>
    <dgm:pt modelId="{F4957FEF-06A3-421B-A9F4-515977A8E734}">
      <dgm:prSet phldrT="[文本]"/>
      <dgm:spPr/>
      <dgm:t>
        <a:bodyPr/>
        <a:lstStyle/>
        <a:p>
          <a:r>
            <a:rPr lang="zh-CN" altLang="en-US" dirty="0" smtClean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rPr>
            <a:t>交易接口</a:t>
          </a:r>
          <a:endParaRPr lang="zh-CN" altLang="en-US" dirty="0">
            <a:solidFill>
              <a:srgbClr val="FF0000"/>
            </a:solidFill>
            <a:latin typeface="微软雅黑" pitchFamily="34" charset="-122"/>
            <a:ea typeface="微软雅黑" pitchFamily="34" charset="-122"/>
          </a:endParaRPr>
        </a:p>
      </dgm:t>
    </dgm:pt>
    <dgm:pt modelId="{2BB00301-4D6E-492D-9834-2BD61BA29CE2}" type="parTrans" cxnId="{980FB171-0BA4-4331-A0CB-4C54C585F090}">
      <dgm:prSet/>
      <dgm:spPr/>
      <dgm:t>
        <a:bodyPr/>
        <a:lstStyle/>
        <a:p>
          <a:endParaRPr lang="zh-CN" altLang="en-US">
            <a:latin typeface="微软雅黑" pitchFamily="34" charset="-122"/>
            <a:ea typeface="微软雅黑" pitchFamily="34" charset="-122"/>
          </a:endParaRPr>
        </a:p>
      </dgm:t>
    </dgm:pt>
    <dgm:pt modelId="{1625EE97-4EAE-4CE4-9993-8273798455BD}" type="sibTrans" cxnId="{980FB171-0BA4-4331-A0CB-4C54C585F090}">
      <dgm:prSet/>
      <dgm:spPr/>
      <dgm:t>
        <a:bodyPr/>
        <a:lstStyle/>
        <a:p>
          <a:endParaRPr lang="zh-CN" altLang="en-US">
            <a:latin typeface="微软雅黑" pitchFamily="34" charset="-122"/>
            <a:ea typeface="微软雅黑" pitchFamily="34" charset="-122"/>
          </a:endParaRPr>
        </a:p>
      </dgm:t>
    </dgm:pt>
    <dgm:pt modelId="{8AD83E47-B3ED-4285-A925-9C064B8838E0}">
      <dgm:prSet phldrT="[文本]"/>
      <dgm:spPr/>
      <dgm:t>
        <a:bodyPr/>
        <a:lstStyle/>
        <a:p>
          <a:r>
            <a:rPr lang="zh-CN" altLang="en-US" dirty="0" smtClean="0">
              <a:latin typeface="微软雅黑" pitchFamily="34" charset="-122"/>
              <a:ea typeface="微软雅黑" pitchFamily="34" charset="-122"/>
            </a:rPr>
            <a:t>进阶应用</a:t>
          </a:r>
          <a:endParaRPr lang="zh-CN" altLang="en-US" dirty="0">
            <a:latin typeface="微软雅黑" pitchFamily="34" charset="-122"/>
            <a:ea typeface="微软雅黑" pitchFamily="34" charset="-122"/>
          </a:endParaRPr>
        </a:p>
      </dgm:t>
    </dgm:pt>
    <dgm:pt modelId="{EFD86F48-EBF5-4DD3-96EC-4ED717C03142}" type="parTrans" cxnId="{889233B5-2195-4271-9457-F3E9390AC9E0}">
      <dgm:prSet/>
      <dgm:spPr/>
      <dgm:t>
        <a:bodyPr/>
        <a:lstStyle/>
        <a:p>
          <a:endParaRPr lang="zh-CN" altLang="en-US">
            <a:latin typeface="微软雅黑" pitchFamily="34" charset="-122"/>
            <a:ea typeface="微软雅黑" pitchFamily="34" charset="-122"/>
          </a:endParaRPr>
        </a:p>
      </dgm:t>
    </dgm:pt>
    <dgm:pt modelId="{60C4AD70-B9C8-468D-8CAE-3D27B50C4511}" type="sibTrans" cxnId="{889233B5-2195-4271-9457-F3E9390AC9E0}">
      <dgm:prSet/>
      <dgm:spPr/>
      <dgm:t>
        <a:bodyPr/>
        <a:lstStyle/>
        <a:p>
          <a:endParaRPr lang="zh-CN" altLang="en-US">
            <a:latin typeface="微软雅黑" pitchFamily="34" charset="-122"/>
            <a:ea typeface="微软雅黑" pitchFamily="34" charset="-122"/>
          </a:endParaRPr>
        </a:p>
      </dgm:t>
    </dgm:pt>
    <dgm:pt modelId="{8AB9D6F6-887F-46C7-A5D8-16293F4BC0CF}" type="pres">
      <dgm:prSet presAssocID="{0A61E4CB-F0F6-4F01-B1DD-0E9E9BBC67D0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2B8B28A6-3154-4298-8270-CDE828493BFD}" type="pres">
      <dgm:prSet presAssocID="{3050025C-2C61-4AF5-9B52-5A8BA0107838}" presName="parentLin" presStyleCnt="0"/>
      <dgm:spPr/>
    </dgm:pt>
    <dgm:pt modelId="{5766F478-0E88-4FEC-AFEB-94D9A9F4E9B0}" type="pres">
      <dgm:prSet presAssocID="{3050025C-2C61-4AF5-9B52-5A8BA0107838}" presName="parentLeftMargin" presStyleLbl="node1" presStyleIdx="0" presStyleCnt="5"/>
      <dgm:spPr/>
      <dgm:t>
        <a:bodyPr/>
        <a:lstStyle/>
        <a:p>
          <a:endParaRPr lang="zh-CN" altLang="en-US"/>
        </a:p>
      </dgm:t>
    </dgm:pt>
    <dgm:pt modelId="{55EAC9EF-DB05-40B3-82FF-FA985BE12A4E}" type="pres">
      <dgm:prSet presAssocID="{3050025C-2C61-4AF5-9B52-5A8BA0107838}" presName="parentText" presStyleLbl="node1" presStyleIdx="0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633A0B12-50B2-4709-AE2B-A80E7FAFC829}" type="pres">
      <dgm:prSet presAssocID="{3050025C-2C61-4AF5-9B52-5A8BA0107838}" presName="negativeSpace" presStyleCnt="0"/>
      <dgm:spPr/>
    </dgm:pt>
    <dgm:pt modelId="{D064ED98-F720-4A01-BD69-B5EB9AF960BC}" type="pres">
      <dgm:prSet presAssocID="{3050025C-2C61-4AF5-9B52-5A8BA0107838}" presName="childText" presStyleLbl="conFgAcc1" presStyleIdx="0" presStyleCnt="5">
        <dgm:presLayoutVars>
          <dgm:bulletEnabled val="1"/>
        </dgm:presLayoutVars>
      </dgm:prSet>
      <dgm:spPr/>
    </dgm:pt>
    <dgm:pt modelId="{098A9E1A-3D6E-4EA0-A61B-48BCA958BCD9}" type="pres">
      <dgm:prSet presAssocID="{E4E67624-514C-485C-BE6C-EA1B8F88B70F}" presName="spaceBetweenRectangles" presStyleCnt="0"/>
      <dgm:spPr/>
    </dgm:pt>
    <dgm:pt modelId="{3F57A69D-465B-4E17-921C-46195F091CA7}" type="pres">
      <dgm:prSet presAssocID="{FC3B0B0C-2FB6-4A9C-AC1D-FD75461CEA4D}" presName="parentLin" presStyleCnt="0"/>
      <dgm:spPr/>
    </dgm:pt>
    <dgm:pt modelId="{1F8FEF32-092F-406E-98A2-B36B16B45204}" type="pres">
      <dgm:prSet presAssocID="{FC3B0B0C-2FB6-4A9C-AC1D-FD75461CEA4D}" presName="parentLeftMargin" presStyleLbl="node1" presStyleIdx="0" presStyleCnt="5"/>
      <dgm:spPr/>
      <dgm:t>
        <a:bodyPr/>
        <a:lstStyle/>
        <a:p>
          <a:endParaRPr lang="zh-CN" altLang="en-US"/>
        </a:p>
      </dgm:t>
    </dgm:pt>
    <dgm:pt modelId="{D7C29C1F-2090-4897-AB30-438AAA4900EA}" type="pres">
      <dgm:prSet presAssocID="{FC3B0B0C-2FB6-4A9C-AC1D-FD75461CEA4D}" presName="parentText" presStyleLbl="node1" presStyleIdx="1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B059022F-81A0-40B8-9C0E-18627B297047}" type="pres">
      <dgm:prSet presAssocID="{FC3B0B0C-2FB6-4A9C-AC1D-FD75461CEA4D}" presName="negativeSpace" presStyleCnt="0"/>
      <dgm:spPr/>
    </dgm:pt>
    <dgm:pt modelId="{F0380638-26A8-46C1-9F5A-14ABC816FB47}" type="pres">
      <dgm:prSet presAssocID="{FC3B0B0C-2FB6-4A9C-AC1D-FD75461CEA4D}" presName="childText" presStyleLbl="conFgAcc1" presStyleIdx="1" presStyleCnt="5">
        <dgm:presLayoutVars>
          <dgm:bulletEnabled val="1"/>
        </dgm:presLayoutVars>
      </dgm:prSet>
      <dgm:spPr/>
    </dgm:pt>
    <dgm:pt modelId="{E361D812-E738-4A9E-9639-F883E70E1C72}" type="pres">
      <dgm:prSet presAssocID="{6434386C-A1EB-456F-96C2-8D2083FE6365}" presName="spaceBetweenRectangles" presStyleCnt="0"/>
      <dgm:spPr/>
    </dgm:pt>
    <dgm:pt modelId="{AC5161D0-8A81-4B56-BD5B-6C7838193838}" type="pres">
      <dgm:prSet presAssocID="{FE4BF61D-049B-4B6F-8B69-82EF6B45AF10}" presName="parentLin" presStyleCnt="0"/>
      <dgm:spPr/>
    </dgm:pt>
    <dgm:pt modelId="{885B4BF4-55F7-4CA5-8916-1C21831DFCE4}" type="pres">
      <dgm:prSet presAssocID="{FE4BF61D-049B-4B6F-8B69-82EF6B45AF10}" presName="parentLeftMargin" presStyleLbl="node1" presStyleIdx="1" presStyleCnt="5"/>
      <dgm:spPr/>
      <dgm:t>
        <a:bodyPr/>
        <a:lstStyle/>
        <a:p>
          <a:endParaRPr lang="zh-CN" altLang="en-US"/>
        </a:p>
      </dgm:t>
    </dgm:pt>
    <dgm:pt modelId="{05199A73-453E-48D7-8C83-7ABD9FCC5229}" type="pres">
      <dgm:prSet presAssocID="{FE4BF61D-049B-4B6F-8B69-82EF6B45AF10}" presName="parentText" presStyleLbl="node1" presStyleIdx="2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9B563934-E034-47DF-BA18-BC86E9297B18}" type="pres">
      <dgm:prSet presAssocID="{FE4BF61D-049B-4B6F-8B69-82EF6B45AF10}" presName="negativeSpace" presStyleCnt="0"/>
      <dgm:spPr/>
    </dgm:pt>
    <dgm:pt modelId="{350A870C-9AA0-4860-A50C-81B1652B432D}" type="pres">
      <dgm:prSet presAssocID="{FE4BF61D-049B-4B6F-8B69-82EF6B45AF10}" presName="childText" presStyleLbl="conFgAcc1" presStyleIdx="2" presStyleCnt="5">
        <dgm:presLayoutVars>
          <dgm:bulletEnabled val="1"/>
        </dgm:presLayoutVars>
      </dgm:prSet>
      <dgm:spPr/>
    </dgm:pt>
    <dgm:pt modelId="{F270C05F-1B9B-4973-BB78-C389D1D6631D}" type="pres">
      <dgm:prSet presAssocID="{5DAA9C00-5B47-4E31-BC1F-D153091C035C}" presName="spaceBetweenRectangles" presStyleCnt="0"/>
      <dgm:spPr/>
    </dgm:pt>
    <dgm:pt modelId="{B85B6613-CD68-4106-8F52-347BF031336E}" type="pres">
      <dgm:prSet presAssocID="{F4957FEF-06A3-421B-A9F4-515977A8E734}" presName="parentLin" presStyleCnt="0"/>
      <dgm:spPr/>
    </dgm:pt>
    <dgm:pt modelId="{C78F7198-775A-4E2C-95F0-A36C6AE18338}" type="pres">
      <dgm:prSet presAssocID="{F4957FEF-06A3-421B-A9F4-515977A8E734}" presName="parentLeftMargin" presStyleLbl="node1" presStyleIdx="2" presStyleCnt="5"/>
      <dgm:spPr/>
      <dgm:t>
        <a:bodyPr/>
        <a:lstStyle/>
        <a:p>
          <a:endParaRPr lang="zh-CN" altLang="en-US"/>
        </a:p>
      </dgm:t>
    </dgm:pt>
    <dgm:pt modelId="{59E0A752-A0F5-47D9-8CB1-38B4A7A9DADE}" type="pres">
      <dgm:prSet presAssocID="{F4957FEF-06A3-421B-A9F4-515977A8E734}" presName="parentText" presStyleLbl="node1" presStyleIdx="3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9D4FE6B7-DCA8-4FDC-A821-26ACBF5BBCCF}" type="pres">
      <dgm:prSet presAssocID="{F4957FEF-06A3-421B-A9F4-515977A8E734}" presName="negativeSpace" presStyleCnt="0"/>
      <dgm:spPr/>
    </dgm:pt>
    <dgm:pt modelId="{90EC6758-910D-470E-B229-5C6F5C3E26D5}" type="pres">
      <dgm:prSet presAssocID="{F4957FEF-06A3-421B-A9F4-515977A8E734}" presName="childText" presStyleLbl="conFgAcc1" presStyleIdx="3" presStyleCnt="5">
        <dgm:presLayoutVars>
          <dgm:bulletEnabled val="1"/>
        </dgm:presLayoutVars>
      </dgm:prSet>
      <dgm:spPr/>
    </dgm:pt>
    <dgm:pt modelId="{46E06398-0D5B-4AC3-A3EE-152F4DB85939}" type="pres">
      <dgm:prSet presAssocID="{1625EE97-4EAE-4CE4-9993-8273798455BD}" presName="spaceBetweenRectangles" presStyleCnt="0"/>
      <dgm:spPr/>
    </dgm:pt>
    <dgm:pt modelId="{ED3D7B2A-3712-4D67-9616-F73C2F83E255}" type="pres">
      <dgm:prSet presAssocID="{8AD83E47-B3ED-4285-A925-9C064B8838E0}" presName="parentLin" presStyleCnt="0"/>
      <dgm:spPr/>
    </dgm:pt>
    <dgm:pt modelId="{C9C333B9-EF00-48D4-A70A-26EBAC486C98}" type="pres">
      <dgm:prSet presAssocID="{8AD83E47-B3ED-4285-A925-9C064B8838E0}" presName="parentLeftMargin" presStyleLbl="node1" presStyleIdx="3" presStyleCnt="5"/>
      <dgm:spPr/>
      <dgm:t>
        <a:bodyPr/>
        <a:lstStyle/>
        <a:p>
          <a:endParaRPr lang="zh-CN" altLang="en-US"/>
        </a:p>
      </dgm:t>
    </dgm:pt>
    <dgm:pt modelId="{47D21CB3-D999-4BD1-B111-C88CF6F296F9}" type="pres">
      <dgm:prSet presAssocID="{8AD83E47-B3ED-4285-A925-9C064B8838E0}" presName="parentText" presStyleLbl="node1" presStyleIdx="4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8EA9374E-D502-4786-B8B9-CE84758992E7}" type="pres">
      <dgm:prSet presAssocID="{8AD83E47-B3ED-4285-A925-9C064B8838E0}" presName="negativeSpace" presStyleCnt="0"/>
      <dgm:spPr/>
    </dgm:pt>
    <dgm:pt modelId="{30F11050-CC2F-4167-802E-9351300C9D3E}" type="pres">
      <dgm:prSet presAssocID="{8AD83E47-B3ED-4285-A925-9C064B8838E0}" presName="childText" presStyleLbl="conFgAcc1" presStyleIdx="4" presStyleCnt="5">
        <dgm:presLayoutVars>
          <dgm:bulletEnabled val="1"/>
        </dgm:presLayoutVars>
      </dgm:prSet>
      <dgm:spPr/>
    </dgm:pt>
  </dgm:ptLst>
  <dgm:cxnLst>
    <dgm:cxn modelId="{7DA885A5-C5B1-4814-9A48-B68C0674CF38}" type="presOf" srcId="{F4957FEF-06A3-421B-A9F4-515977A8E734}" destId="{C78F7198-775A-4E2C-95F0-A36C6AE18338}" srcOrd="0" destOrd="0" presId="urn:microsoft.com/office/officeart/2005/8/layout/list1"/>
    <dgm:cxn modelId="{C6433B53-4BE8-477C-8476-94A89FB9E7BF}" srcId="{0A61E4CB-F0F6-4F01-B1DD-0E9E9BBC67D0}" destId="{FE4BF61D-049B-4B6F-8B69-82EF6B45AF10}" srcOrd="2" destOrd="0" parTransId="{987EE3E3-9BD7-4F69-9B69-0463AFD3554E}" sibTransId="{5DAA9C00-5B47-4E31-BC1F-D153091C035C}"/>
    <dgm:cxn modelId="{5683B2A4-8FEB-4623-92D5-FD13E6FB8FFB}" type="presOf" srcId="{FE4BF61D-049B-4B6F-8B69-82EF6B45AF10}" destId="{885B4BF4-55F7-4CA5-8916-1C21831DFCE4}" srcOrd="0" destOrd="0" presId="urn:microsoft.com/office/officeart/2005/8/layout/list1"/>
    <dgm:cxn modelId="{3076305B-A353-4FA5-8927-850FFF293807}" type="presOf" srcId="{FE4BF61D-049B-4B6F-8B69-82EF6B45AF10}" destId="{05199A73-453E-48D7-8C83-7ABD9FCC5229}" srcOrd="1" destOrd="0" presId="urn:microsoft.com/office/officeart/2005/8/layout/list1"/>
    <dgm:cxn modelId="{A5B4C974-C684-43D6-B81C-13394D02CEB2}" type="presOf" srcId="{0A61E4CB-F0F6-4F01-B1DD-0E9E9BBC67D0}" destId="{8AB9D6F6-887F-46C7-A5D8-16293F4BC0CF}" srcOrd="0" destOrd="0" presId="urn:microsoft.com/office/officeart/2005/8/layout/list1"/>
    <dgm:cxn modelId="{547471E3-7AB2-46F0-9A4B-2705330FDC3F}" type="presOf" srcId="{3050025C-2C61-4AF5-9B52-5A8BA0107838}" destId="{55EAC9EF-DB05-40B3-82FF-FA985BE12A4E}" srcOrd="1" destOrd="0" presId="urn:microsoft.com/office/officeart/2005/8/layout/list1"/>
    <dgm:cxn modelId="{A74F6FBC-13E6-4453-A3EF-164FB52B2BF6}" srcId="{0A61E4CB-F0F6-4F01-B1DD-0E9E9BBC67D0}" destId="{3050025C-2C61-4AF5-9B52-5A8BA0107838}" srcOrd="0" destOrd="0" parTransId="{7730697B-6F51-47F5-AC88-8BBDED3BD7F5}" sibTransId="{E4E67624-514C-485C-BE6C-EA1B8F88B70F}"/>
    <dgm:cxn modelId="{B47AFD6C-4E26-443B-9CF0-7BC67D507404}" type="presOf" srcId="{FC3B0B0C-2FB6-4A9C-AC1D-FD75461CEA4D}" destId="{1F8FEF32-092F-406E-98A2-B36B16B45204}" srcOrd="0" destOrd="0" presId="urn:microsoft.com/office/officeart/2005/8/layout/list1"/>
    <dgm:cxn modelId="{26503A73-E45E-44B3-921F-CC463EC3AC31}" type="presOf" srcId="{FC3B0B0C-2FB6-4A9C-AC1D-FD75461CEA4D}" destId="{D7C29C1F-2090-4897-AB30-438AAA4900EA}" srcOrd="1" destOrd="0" presId="urn:microsoft.com/office/officeart/2005/8/layout/list1"/>
    <dgm:cxn modelId="{5B3516A7-AE1A-487B-A4DC-6EA978751F51}" type="presOf" srcId="{8AD83E47-B3ED-4285-A925-9C064B8838E0}" destId="{C9C333B9-EF00-48D4-A70A-26EBAC486C98}" srcOrd="0" destOrd="0" presId="urn:microsoft.com/office/officeart/2005/8/layout/list1"/>
    <dgm:cxn modelId="{D079314F-2C23-4EB6-AF02-1A227F07EA82}" type="presOf" srcId="{F4957FEF-06A3-421B-A9F4-515977A8E734}" destId="{59E0A752-A0F5-47D9-8CB1-38B4A7A9DADE}" srcOrd="1" destOrd="0" presId="urn:microsoft.com/office/officeart/2005/8/layout/list1"/>
    <dgm:cxn modelId="{B1F3F6E5-042D-4E1E-993F-DB160118B368}" type="presOf" srcId="{3050025C-2C61-4AF5-9B52-5A8BA0107838}" destId="{5766F478-0E88-4FEC-AFEB-94D9A9F4E9B0}" srcOrd="0" destOrd="0" presId="urn:microsoft.com/office/officeart/2005/8/layout/list1"/>
    <dgm:cxn modelId="{87ADEACB-FD10-4C82-B63D-B14B7AAA89B1}" type="presOf" srcId="{8AD83E47-B3ED-4285-A925-9C064B8838E0}" destId="{47D21CB3-D999-4BD1-B111-C88CF6F296F9}" srcOrd="1" destOrd="0" presId="urn:microsoft.com/office/officeart/2005/8/layout/list1"/>
    <dgm:cxn modelId="{980FB171-0BA4-4331-A0CB-4C54C585F090}" srcId="{0A61E4CB-F0F6-4F01-B1DD-0E9E9BBC67D0}" destId="{F4957FEF-06A3-421B-A9F4-515977A8E734}" srcOrd="3" destOrd="0" parTransId="{2BB00301-4D6E-492D-9834-2BD61BA29CE2}" sibTransId="{1625EE97-4EAE-4CE4-9993-8273798455BD}"/>
    <dgm:cxn modelId="{889233B5-2195-4271-9457-F3E9390AC9E0}" srcId="{0A61E4CB-F0F6-4F01-B1DD-0E9E9BBC67D0}" destId="{8AD83E47-B3ED-4285-A925-9C064B8838E0}" srcOrd="4" destOrd="0" parTransId="{EFD86F48-EBF5-4DD3-96EC-4ED717C03142}" sibTransId="{60C4AD70-B9C8-468D-8CAE-3D27B50C4511}"/>
    <dgm:cxn modelId="{C30A36B7-C43B-43A1-8CF8-7D1AAE4A845F}" srcId="{0A61E4CB-F0F6-4F01-B1DD-0E9E9BBC67D0}" destId="{FC3B0B0C-2FB6-4A9C-AC1D-FD75461CEA4D}" srcOrd="1" destOrd="0" parTransId="{CEA54DC8-72DC-4744-BAC4-AF1538B41971}" sibTransId="{6434386C-A1EB-456F-96C2-8D2083FE6365}"/>
    <dgm:cxn modelId="{B12D0BCC-15C0-4440-B5A2-DA812E418584}" type="presParOf" srcId="{8AB9D6F6-887F-46C7-A5D8-16293F4BC0CF}" destId="{2B8B28A6-3154-4298-8270-CDE828493BFD}" srcOrd="0" destOrd="0" presId="urn:microsoft.com/office/officeart/2005/8/layout/list1"/>
    <dgm:cxn modelId="{296B07A2-54B7-4856-8657-4AADFCD02B88}" type="presParOf" srcId="{2B8B28A6-3154-4298-8270-CDE828493BFD}" destId="{5766F478-0E88-4FEC-AFEB-94D9A9F4E9B0}" srcOrd="0" destOrd="0" presId="urn:microsoft.com/office/officeart/2005/8/layout/list1"/>
    <dgm:cxn modelId="{B980B317-6D11-4710-910F-86737E24676C}" type="presParOf" srcId="{2B8B28A6-3154-4298-8270-CDE828493BFD}" destId="{55EAC9EF-DB05-40B3-82FF-FA985BE12A4E}" srcOrd="1" destOrd="0" presId="urn:microsoft.com/office/officeart/2005/8/layout/list1"/>
    <dgm:cxn modelId="{AD83D232-F563-471A-85DF-03F4086F29C1}" type="presParOf" srcId="{8AB9D6F6-887F-46C7-A5D8-16293F4BC0CF}" destId="{633A0B12-50B2-4709-AE2B-A80E7FAFC829}" srcOrd="1" destOrd="0" presId="urn:microsoft.com/office/officeart/2005/8/layout/list1"/>
    <dgm:cxn modelId="{4F80DC11-13E6-42D0-841C-1655CC275784}" type="presParOf" srcId="{8AB9D6F6-887F-46C7-A5D8-16293F4BC0CF}" destId="{D064ED98-F720-4A01-BD69-B5EB9AF960BC}" srcOrd="2" destOrd="0" presId="urn:microsoft.com/office/officeart/2005/8/layout/list1"/>
    <dgm:cxn modelId="{BD54BD37-300F-4571-B833-C299416BD5CA}" type="presParOf" srcId="{8AB9D6F6-887F-46C7-A5D8-16293F4BC0CF}" destId="{098A9E1A-3D6E-4EA0-A61B-48BCA958BCD9}" srcOrd="3" destOrd="0" presId="urn:microsoft.com/office/officeart/2005/8/layout/list1"/>
    <dgm:cxn modelId="{490C2FC3-7643-4F49-BC14-EAE70CD6EE9F}" type="presParOf" srcId="{8AB9D6F6-887F-46C7-A5D8-16293F4BC0CF}" destId="{3F57A69D-465B-4E17-921C-46195F091CA7}" srcOrd="4" destOrd="0" presId="urn:microsoft.com/office/officeart/2005/8/layout/list1"/>
    <dgm:cxn modelId="{F3FF5A0B-43E1-40B2-9942-93656BCE3553}" type="presParOf" srcId="{3F57A69D-465B-4E17-921C-46195F091CA7}" destId="{1F8FEF32-092F-406E-98A2-B36B16B45204}" srcOrd="0" destOrd="0" presId="urn:microsoft.com/office/officeart/2005/8/layout/list1"/>
    <dgm:cxn modelId="{67BD5271-06CB-49ED-BBD3-2D0EE70801F7}" type="presParOf" srcId="{3F57A69D-465B-4E17-921C-46195F091CA7}" destId="{D7C29C1F-2090-4897-AB30-438AAA4900EA}" srcOrd="1" destOrd="0" presId="urn:microsoft.com/office/officeart/2005/8/layout/list1"/>
    <dgm:cxn modelId="{A0FFF8DF-1183-4CA0-B2C5-2EDEA382D13C}" type="presParOf" srcId="{8AB9D6F6-887F-46C7-A5D8-16293F4BC0CF}" destId="{B059022F-81A0-40B8-9C0E-18627B297047}" srcOrd="5" destOrd="0" presId="urn:microsoft.com/office/officeart/2005/8/layout/list1"/>
    <dgm:cxn modelId="{6CECC4F5-6DE7-4883-A2CF-43CEC34FCA1E}" type="presParOf" srcId="{8AB9D6F6-887F-46C7-A5D8-16293F4BC0CF}" destId="{F0380638-26A8-46C1-9F5A-14ABC816FB47}" srcOrd="6" destOrd="0" presId="urn:microsoft.com/office/officeart/2005/8/layout/list1"/>
    <dgm:cxn modelId="{0264C924-98EE-48C3-ADBC-A090006CB25C}" type="presParOf" srcId="{8AB9D6F6-887F-46C7-A5D8-16293F4BC0CF}" destId="{E361D812-E738-4A9E-9639-F883E70E1C72}" srcOrd="7" destOrd="0" presId="urn:microsoft.com/office/officeart/2005/8/layout/list1"/>
    <dgm:cxn modelId="{73FB8317-12F1-4070-8E83-FB243CF629CF}" type="presParOf" srcId="{8AB9D6F6-887F-46C7-A5D8-16293F4BC0CF}" destId="{AC5161D0-8A81-4B56-BD5B-6C7838193838}" srcOrd="8" destOrd="0" presId="urn:microsoft.com/office/officeart/2005/8/layout/list1"/>
    <dgm:cxn modelId="{65647F6C-6FE9-4F19-886A-72CC499F8C38}" type="presParOf" srcId="{AC5161D0-8A81-4B56-BD5B-6C7838193838}" destId="{885B4BF4-55F7-4CA5-8916-1C21831DFCE4}" srcOrd="0" destOrd="0" presId="urn:microsoft.com/office/officeart/2005/8/layout/list1"/>
    <dgm:cxn modelId="{92AAAFAE-E88A-4C42-8ABE-5CFABDEEAF44}" type="presParOf" srcId="{AC5161D0-8A81-4B56-BD5B-6C7838193838}" destId="{05199A73-453E-48D7-8C83-7ABD9FCC5229}" srcOrd="1" destOrd="0" presId="urn:microsoft.com/office/officeart/2005/8/layout/list1"/>
    <dgm:cxn modelId="{3ACAE09C-A7A4-4E14-AEE8-7B3E2BCC6DBC}" type="presParOf" srcId="{8AB9D6F6-887F-46C7-A5D8-16293F4BC0CF}" destId="{9B563934-E034-47DF-BA18-BC86E9297B18}" srcOrd="9" destOrd="0" presId="urn:microsoft.com/office/officeart/2005/8/layout/list1"/>
    <dgm:cxn modelId="{C77D0BF3-8FA4-46B6-BAED-9E8C58EC775A}" type="presParOf" srcId="{8AB9D6F6-887F-46C7-A5D8-16293F4BC0CF}" destId="{350A870C-9AA0-4860-A50C-81B1652B432D}" srcOrd="10" destOrd="0" presId="urn:microsoft.com/office/officeart/2005/8/layout/list1"/>
    <dgm:cxn modelId="{C3BEE243-8246-4A58-B2CA-E1E684421890}" type="presParOf" srcId="{8AB9D6F6-887F-46C7-A5D8-16293F4BC0CF}" destId="{F270C05F-1B9B-4973-BB78-C389D1D6631D}" srcOrd="11" destOrd="0" presId="urn:microsoft.com/office/officeart/2005/8/layout/list1"/>
    <dgm:cxn modelId="{7F4486D2-5996-4473-AC53-1AE618C34311}" type="presParOf" srcId="{8AB9D6F6-887F-46C7-A5D8-16293F4BC0CF}" destId="{B85B6613-CD68-4106-8F52-347BF031336E}" srcOrd="12" destOrd="0" presId="urn:microsoft.com/office/officeart/2005/8/layout/list1"/>
    <dgm:cxn modelId="{5F19E482-F29F-4000-BBD9-9648C7967851}" type="presParOf" srcId="{B85B6613-CD68-4106-8F52-347BF031336E}" destId="{C78F7198-775A-4E2C-95F0-A36C6AE18338}" srcOrd="0" destOrd="0" presId="urn:microsoft.com/office/officeart/2005/8/layout/list1"/>
    <dgm:cxn modelId="{1B78DC57-E518-41FB-988C-90C56AE2F629}" type="presParOf" srcId="{B85B6613-CD68-4106-8F52-347BF031336E}" destId="{59E0A752-A0F5-47D9-8CB1-38B4A7A9DADE}" srcOrd="1" destOrd="0" presId="urn:microsoft.com/office/officeart/2005/8/layout/list1"/>
    <dgm:cxn modelId="{9E472870-2CFE-485B-B7F1-BCD5A0BDC42A}" type="presParOf" srcId="{8AB9D6F6-887F-46C7-A5D8-16293F4BC0CF}" destId="{9D4FE6B7-DCA8-4FDC-A821-26ACBF5BBCCF}" srcOrd="13" destOrd="0" presId="urn:microsoft.com/office/officeart/2005/8/layout/list1"/>
    <dgm:cxn modelId="{A8CE42DE-BE01-4B2B-9572-C7B029B83C42}" type="presParOf" srcId="{8AB9D6F6-887F-46C7-A5D8-16293F4BC0CF}" destId="{90EC6758-910D-470E-B229-5C6F5C3E26D5}" srcOrd="14" destOrd="0" presId="urn:microsoft.com/office/officeart/2005/8/layout/list1"/>
    <dgm:cxn modelId="{70067522-E302-490C-806B-504B8F886B5D}" type="presParOf" srcId="{8AB9D6F6-887F-46C7-A5D8-16293F4BC0CF}" destId="{46E06398-0D5B-4AC3-A3EE-152F4DB85939}" srcOrd="15" destOrd="0" presId="urn:microsoft.com/office/officeart/2005/8/layout/list1"/>
    <dgm:cxn modelId="{6569B15F-1439-4FC2-B2A9-34F348CBA984}" type="presParOf" srcId="{8AB9D6F6-887F-46C7-A5D8-16293F4BC0CF}" destId="{ED3D7B2A-3712-4D67-9616-F73C2F83E255}" srcOrd="16" destOrd="0" presId="urn:microsoft.com/office/officeart/2005/8/layout/list1"/>
    <dgm:cxn modelId="{52293348-92A0-4E4D-84C5-90CCC6EF966E}" type="presParOf" srcId="{ED3D7B2A-3712-4D67-9616-F73C2F83E255}" destId="{C9C333B9-EF00-48D4-A70A-26EBAC486C98}" srcOrd="0" destOrd="0" presId="urn:microsoft.com/office/officeart/2005/8/layout/list1"/>
    <dgm:cxn modelId="{E8BA7984-EF35-4FB3-880E-917E7AB1A57E}" type="presParOf" srcId="{ED3D7B2A-3712-4D67-9616-F73C2F83E255}" destId="{47D21CB3-D999-4BD1-B111-C88CF6F296F9}" srcOrd="1" destOrd="0" presId="urn:microsoft.com/office/officeart/2005/8/layout/list1"/>
    <dgm:cxn modelId="{87793DB6-49C4-410F-AF56-B100701639D0}" type="presParOf" srcId="{8AB9D6F6-887F-46C7-A5D8-16293F4BC0CF}" destId="{8EA9374E-D502-4786-B8B9-CE84758992E7}" srcOrd="17" destOrd="0" presId="urn:microsoft.com/office/officeart/2005/8/layout/list1"/>
    <dgm:cxn modelId="{8161C6B5-CC34-461D-8706-429870256B1C}" type="presParOf" srcId="{8AB9D6F6-887F-46C7-A5D8-16293F4BC0CF}" destId="{30F11050-CC2F-4167-802E-9351300C9D3E}" srcOrd="18" destOrd="0" presId="urn:microsoft.com/office/officeart/2005/8/layout/list1"/>
  </dgm:cxnLst>
  <dgm:bg/>
  <dgm:whole/>
  <dgm:extLst>
    <a:ext uri="http://schemas.microsoft.com/office/drawing/2008/diagram">
      <dsp:dataModelExt xmlns=""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0A61E4CB-F0F6-4F01-B1DD-0E9E9BBC67D0}" type="doc">
      <dgm:prSet loTypeId="urn:microsoft.com/office/officeart/2005/8/layout/list1" loCatId="list" qsTypeId="urn:microsoft.com/office/officeart/2005/8/quickstyle/simple4" qsCatId="simple" csTypeId="urn:microsoft.com/office/officeart/2005/8/colors/accent2_1" csCatId="accent2" phldr="1"/>
      <dgm:spPr/>
      <dgm:t>
        <a:bodyPr/>
        <a:lstStyle/>
        <a:p>
          <a:endParaRPr lang="zh-CN" altLang="en-US"/>
        </a:p>
      </dgm:t>
    </dgm:pt>
    <dgm:pt modelId="{3050025C-2C61-4AF5-9B52-5A8BA0107838}">
      <dgm:prSet phldrT="[文本]"/>
      <dgm:spPr/>
      <dgm:t>
        <a:bodyPr/>
        <a:lstStyle/>
        <a:p>
          <a:r>
            <a:rPr lang="zh-CN" altLang="en-US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</a:rPr>
            <a:t>万得量化平台架构</a:t>
          </a:r>
          <a:endParaRPr lang="zh-CN" altLang="en-US" dirty="0">
            <a:solidFill>
              <a:schemeClr val="tx1"/>
            </a:solidFill>
            <a:latin typeface="微软雅黑" pitchFamily="34" charset="-122"/>
            <a:ea typeface="微软雅黑" pitchFamily="34" charset="-122"/>
          </a:endParaRPr>
        </a:p>
      </dgm:t>
    </dgm:pt>
    <dgm:pt modelId="{7730697B-6F51-47F5-AC88-8BBDED3BD7F5}" type="parTrans" cxnId="{A74F6FBC-13E6-4453-A3EF-164FB52B2BF6}">
      <dgm:prSet/>
      <dgm:spPr/>
      <dgm:t>
        <a:bodyPr/>
        <a:lstStyle/>
        <a:p>
          <a:endParaRPr lang="zh-CN" altLang="en-US">
            <a:latin typeface="微软雅黑" pitchFamily="34" charset="-122"/>
            <a:ea typeface="微软雅黑" pitchFamily="34" charset="-122"/>
          </a:endParaRPr>
        </a:p>
      </dgm:t>
    </dgm:pt>
    <dgm:pt modelId="{E4E67624-514C-485C-BE6C-EA1B8F88B70F}" type="sibTrans" cxnId="{A74F6FBC-13E6-4453-A3EF-164FB52B2BF6}">
      <dgm:prSet/>
      <dgm:spPr/>
      <dgm:t>
        <a:bodyPr/>
        <a:lstStyle/>
        <a:p>
          <a:endParaRPr lang="zh-CN" altLang="en-US">
            <a:latin typeface="微软雅黑" pitchFamily="34" charset="-122"/>
            <a:ea typeface="微软雅黑" pitchFamily="34" charset="-122"/>
          </a:endParaRPr>
        </a:p>
      </dgm:t>
    </dgm:pt>
    <dgm:pt modelId="{FC3B0B0C-2FB6-4A9C-AC1D-FD75461CEA4D}">
      <dgm:prSet phldrT="[文本]"/>
      <dgm:spPr/>
      <dgm:t>
        <a:bodyPr/>
        <a:lstStyle/>
        <a:p>
          <a:r>
            <a:rPr lang="zh-CN" altLang="en-US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</a:rPr>
            <a:t>启用</a:t>
          </a:r>
          <a:r>
            <a:rPr lang="en-US" altLang="zh-CN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</a:rPr>
            <a:t>C#</a:t>
          </a:r>
          <a:r>
            <a:rPr lang="zh-CN" altLang="en-US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</a:rPr>
            <a:t>量化接口</a:t>
          </a:r>
          <a:endParaRPr lang="zh-CN" altLang="en-US" dirty="0">
            <a:solidFill>
              <a:schemeClr val="tx1"/>
            </a:solidFill>
            <a:latin typeface="微软雅黑" pitchFamily="34" charset="-122"/>
            <a:ea typeface="微软雅黑" pitchFamily="34" charset="-122"/>
          </a:endParaRPr>
        </a:p>
      </dgm:t>
    </dgm:pt>
    <dgm:pt modelId="{CEA54DC8-72DC-4744-BAC4-AF1538B41971}" type="parTrans" cxnId="{C30A36B7-C43B-43A1-8CF8-7D1AAE4A845F}">
      <dgm:prSet/>
      <dgm:spPr/>
      <dgm:t>
        <a:bodyPr/>
        <a:lstStyle/>
        <a:p>
          <a:endParaRPr lang="zh-CN" altLang="en-US">
            <a:latin typeface="微软雅黑" pitchFamily="34" charset="-122"/>
            <a:ea typeface="微软雅黑" pitchFamily="34" charset="-122"/>
          </a:endParaRPr>
        </a:p>
      </dgm:t>
    </dgm:pt>
    <dgm:pt modelId="{6434386C-A1EB-456F-96C2-8D2083FE6365}" type="sibTrans" cxnId="{C30A36B7-C43B-43A1-8CF8-7D1AAE4A845F}">
      <dgm:prSet/>
      <dgm:spPr/>
      <dgm:t>
        <a:bodyPr/>
        <a:lstStyle/>
        <a:p>
          <a:endParaRPr lang="zh-CN" altLang="en-US">
            <a:latin typeface="微软雅黑" pitchFamily="34" charset="-122"/>
            <a:ea typeface="微软雅黑" pitchFamily="34" charset="-122"/>
          </a:endParaRPr>
        </a:p>
      </dgm:t>
    </dgm:pt>
    <dgm:pt modelId="{FE4BF61D-049B-4B6F-8B69-82EF6B45AF10}">
      <dgm:prSet phldrT="[文本]"/>
      <dgm:spPr/>
      <dgm:t>
        <a:bodyPr/>
        <a:lstStyle/>
        <a:p>
          <a:r>
            <a:rPr lang="zh-CN" altLang="en-US" dirty="0" smtClean="0">
              <a:latin typeface="微软雅黑" pitchFamily="34" charset="-122"/>
              <a:ea typeface="微软雅黑" pitchFamily="34" charset="-122"/>
            </a:rPr>
            <a:t>数据接口</a:t>
          </a:r>
          <a:endParaRPr lang="zh-CN" altLang="en-US" dirty="0">
            <a:latin typeface="微软雅黑" pitchFamily="34" charset="-122"/>
            <a:ea typeface="微软雅黑" pitchFamily="34" charset="-122"/>
          </a:endParaRPr>
        </a:p>
      </dgm:t>
    </dgm:pt>
    <dgm:pt modelId="{987EE3E3-9BD7-4F69-9B69-0463AFD3554E}" type="parTrans" cxnId="{C6433B53-4BE8-477C-8476-94A89FB9E7BF}">
      <dgm:prSet/>
      <dgm:spPr/>
      <dgm:t>
        <a:bodyPr/>
        <a:lstStyle/>
        <a:p>
          <a:endParaRPr lang="zh-CN" altLang="en-US">
            <a:latin typeface="微软雅黑" pitchFamily="34" charset="-122"/>
            <a:ea typeface="微软雅黑" pitchFamily="34" charset="-122"/>
          </a:endParaRPr>
        </a:p>
      </dgm:t>
    </dgm:pt>
    <dgm:pt modelId="{5DAA9C00-5B47-4E31-BC1F-D153091C035C}" type="sibTrans" cxnId="{C6433B53-4BE8-477C-8476-94A89FB9E7BF}">
      <dgm:prSet/>
      <dgm:spPr/>
      <dgm:t>
        <a:bodyPr/>
        <a:lstStyle/>
        <a:p>
          <a:endParaRPr lang="zh-CN" altLang="en-US">
            <a:latin typeface="微软雅黑" pitchFamily="34" charset="-122"/>
            <a:ea typeface="微软雅黑" pitchFamily="34" charset="-122"/>
          </a:endParaRPr>
        </a:p>
      </dgm:t>
    </dgm:pt>
    <dgm:pt modelId="{F4957FEF-06A3-421B-A9F4-515977A8E734}">
      <dgm:prSet phldrT="[文本]"/>
      <dgm:spPr/>
      <dgm:t>
        <a:bodyPr/>
        <a:lstStyle/>
        <a:p>
          <a:r>
            <a:rPr lang="zh-CN" altLang="en-US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</a:rPr>
            <a:t>交易接口</a:t>
          </a:r>
          <a:endParaRPr lang="zh-CN" altLang="en-US" dirty="0">
            <a:solidFill>
              <a:schemeClr val="tx1"/>
            </a:solidFill>
            <a:latin typeface="微软雅黑" pitchFamily="34" charset="-122"/>
            <a:ea typeface="微软雅黑" pitchFamily="34" charset="-122"/>
          </a:endParaRPr>
        </a:p>
      </dgm:t>
    </dgm:pt>
    <dgm:pt modelId="{2BB00301-4D6E-492D-9834-2BD61BA29CE2}" type="parTrans" cxnId="{980FB171-0BA4-4331-A0CB-4C54C585F090}">
      <dgm:prSet/>
      <dgm:spPr/>
      <dgm:t>
        <a:bodyPr/>
        <a:lstStyle/>
        <a:p>
          <a:endParaRPr lang="zh-CN" altLang="en-US">
            <a:latin typeface="微软雅黑" pitchFamily="34" charset="-122"/>
            <a:ea typeface="微软雅黑" pitchFamily="34" charset="-122"/>
          </a:endParaRPr>
        </a:p>
      </dgm:t>
    </dgm:pt>
    <dgm:pt modelId="{1625EE97-4EAE-4CE4-9993-8273798455BD}" type="sibTrans" cxnId="{980FB171-0BA4-4331-A0CB-4C54C585F090}">
      <dgm:prSet/>
      <dgm:spPr/>
      <dgm:t>
        <a:bodyPr/>
        <a:lstStyle/>
        <a:p>
          <a:endParaRPr lang="zh-CN" altLang="en-US">
            <a:latin typeface="微软雅黑" pitchFamily="34" charset="-122"/>
            <a:ea typeface="微软雅黑" pitchFamily="34" charset="-122"/>
          </a:endParaRPr>
        </a:p>
      </dgm:t>
    </dgm:pt>
    <dgm:pt modelId="{8AD83E47-B3ED-4285-A925-9C064B8838E0}">
      <dgm:prSet phldrT="[文本]"/>
      <dgm:spPr/>
      <dgm:t>
        <a:bodyPr/>
        <a:lstStyle/>
        <a:p>
          <a:r>
            <a:rPr lang="zh-CN" altLang="en-US" dirty="0" smtClean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rPr>
            <a:t>进阶应用</a:t>
          </a:r>
          <a:endParaRPr lang="zh-CN" altLang="en-US" dirty="0">
            <a:solidFill>
              <a:srgbClr val="FF0000"/>
            </a:solidFill>
            <a:latin typeface="微软雅黑" pitchFamily="34" charset="-122"/>
            <a:ea typeface="微软雅黑" pitchFamily="34" charset="-122"/>
          </a:endParaRPr>
        </a:p>
      </dgm:t>
    </dgm:pt>
    <dgm:pt modelId="{EFD86F48-EBF5-4DD3-96EC-4ED717C03142}" type="parTrans" cxnId="{889233B5-2195-4271-9457-F3E9390AC9E0}">
      <dgm:prSet/>
      <dgm:spPr/>
      <dgm:t>
        <a:bodyPr/>
        <a:lstStyle/>
        <a:p>
          <a:endParaRPr lang="zh-CN" altLang="en-US">
            <a:latin typeface="微软雅黑" pitchFamily="34" charset="-122"/>
            <a:ea typeface="微软雅黑" pitchFamily="34" charset="-122"/>
          </a:endParaRPr>
        </a:p>
      </dgm:t>
    </dgm:pt>
    <dgm:pt modelId="{60C4AD70-B9C8-468D-8CAE-3D27B50C4511}" type="sibTrans" cxnId="{889233B5-2195-4271-9457-F3E9390AC9E0}">
      <dgm:prSet/>
      <dgm:spPr/>
      <dgm:t>
        <a:bodyPr/>
        <a:lstStyle/>
        <a:p>
          <a:endParaRPr lang="zh-CN" altLang="en-US">
            <a:latin typeface="微软雅黑" pitchFamily="34" charset="-122"/>
            <a:ea typeface="微软雅黑" pitchFamily="34" charset="-122"/>
          </a:endParaRPr>
        </a:p>
      </dgm:t>
    </dgm:pt>
    <dgm:pt modelId="{8AB9D6F6-887F-46C7-A5D8-16293F4BC0CF}" type="pres">
      <dgm:prSet presAssocID="{0A61E4CB-F0F6-4F01-B1DD-0E9E9BBC67D0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2B8B28A6-3154-4298-8270-CDE828493BFD}" type="pres">
      <dgm:prSet presAssocID="{3050025C-2C61-4AF5-9B52-5A8BA0107838}" presName="parentLin" presStyleCnt="0"/>
      <dgm:spPr/>
    </dgm:pt>
    <dgm:pt modelId="{5766F478-0E88-4FEC-AFEB-94D9A9F4E9B0}" type="pres">
      <dgm:prSet presAssocID="{3050025C-2C61-4AF5-9B52-5A8BA0107838}" presName="parentLeftMargin" presStyleLbl="node1" presStyleIdx="0" presStyleCnt="5"/>
      <dgm:spPr/>
      <dgm:t>
        <a:bodyPr/>
        <a:lstStyle/>
        <a:p>
          <a:endParaRPr lang="zh-CN" altLang="en-US"/>
        </a:p>
      </dgm:t>
    </dgm:pt>
    <dgm:pt modelId="{55EAC9EF-DB05-40B3-82FF-FA985BE12A4E}" type="pres">
      <dgm:prSet presAssocID="{3050025C-2C61-4AF5-9B52-5A8BA0107838}" presName="parentText" presStyleLbl="node1" presStyleIdx="0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633A0B12-50B2-4709-AE2B-A80E7FAFC829}" type="pres">
      <dgm:prSet presAssocID="{3050025C-2C61-4AF5-9B52-5A8BA0107838}" presName="negativeSpace" presStyleCnt="0"/>
      <dgm:spPr/>
    </dgm:pt>
    <dgm:pt modelId="{D064ED98-F720-4A01-BD69-B5EB9AF960BC}" type="pres">
      <dgm:prSet presAssocID="{3050025C-2C61-4AF5-9B52-5A8BA0107838}" presName="childText" presStyleLbl="conFgAcc1" presStyleIdx="0" presStyleCnt="5">
        <dgm:presLayoutVars>
          <dgm:bulletEnabled val="1"/>
        </dgm:presLayoutVars>
      </dgm:prSet>
      <dgm:spPr/>
    </dgm:pt>
    <dgm:pt modelId="{098A9E1A-3D6E-4EA0-A61B-48BCA958BCD9}" type="pres">
      <dgm:prSet presAssocID="{E4E67624-514C-485C-BE6C-EA1B8F88B70F}" presName="spaceBetweenRectangles" presStyleCnt="0"/>
      <dgm:spPr/>
    </dgm:pt>
    <dgm:pt modelId="{3F57A69D-465B-4E17-921C-46195F091CA7}" type="pres">
      <dgm:prSet presAssocID="{FC3B0B0C-2FB6-4A9C-AC1D-FD75461CEA4D}" presName="parentLin" presStyleCnt="0"/>
      <dgm:spPr/>
    </dgm:pt>
    <dgm:pt modelId="{1F8FEF32-092F-406E-98A2-B36B16B45204}" type="pres">
      <dgm:prSet presAssocID="{FC3B0B0C-2FB6-4A9C-AC1D-FD75461CEA4D}" presName="parentLeftMargin" presStyleLbl="node1" presStyleIdx="0" presStyleCnt="5"/>
      <dgm:spPr/>
      <dgm:t>
        <a:bodyPr/>
        <a:lstStyle/>
        <a:p>
          <a:endParaRPr lang="zh-CN" altLang="en-US"/>
        </a:p>
      </dgm:t>
    </dgm:pt>
    <dgm:pt modelId="{D7C29C1F-2090-4897-AB30-438AAA4900EA}" type="pres">
      <dgm:prSet presAssocID="{FC3B0B0C-2FB6-4A9C-AC1D-FD75461CEA4D}" presName="parentText" presStyleLbl="node1" presStyleIdx="1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B059022F-81A0-40B8-9C0E-18627B297047}" type="pres">
      <dgm:prSet presAssocID="{FC3B0B0C-2FB6-4A9C-AC1D-FD75461CEA4D}" presName="negativeSpace" presStyleCnt="0"/>
      <dgm:spPr/>
    </dgm:pt>
    <dgm:pt modelId="{F0380638-26A8-46C1-9F5A-14ABC816FB47}" type="pres">
      <dgm:prSet presAssocID="{FC3B0B0C-2FB6-4A9C-AC1D-FD75461CEA4D}" presName="childText" presStyleLbl="conFgAcc1" presStyleIdx="1" presStyleCnt="5">
        <dgm:presLayoutVars>
          <dgm:bulletEnabled val="1"/>
        </dgm:presLayoutVars>
      </dgm:prSet>
      <dgm:spPr/>
    </dgm:pt>
    <dgm:pt modelId="{E361D812-E738-4A9E-9639-F883E70E1C72}" type="pres">
      <dgm:prSet presAssocID="{6434386C-A1EB-456F-96C2-8D2083FE6365}" presName="spaceBetweenRectangles" presStyleCnt="0"/>
      <dgm:spPr/>
    </dgm:pt>
    <dgm:pt modelId="{AC5161D0-8A81-4B56-BD5B-6C7838193838}" type="pres">
      <dgm:prSet presAssocID="{FE4BF61D-049B-4B6F-8B69-82EF6B45AF10}" presName="parentLin" presStyleCnt="0"/>
      <dgm:spPr/>
    </dgm:pt>
    <dgm:pt modelId="{885B4BF4-55F7-4CA5-8916-1C21831DFCE4}" type="pres">
      <dgm:prSet presAssocID="{FE4BF61D-049B-4B6F-8B69-82EF6B45AF10}" presName="parentLeftMargin" presStyleLbl="node1" presStyleIdx="1" presStyleCnt="5"/>
      <dgm:spPr/>
      <dgm:t>
        <a:bodyPr/>
        <a:lstStyle/>
        <a:p>
          <a:endParaRPr lang="zh-CN" altLang="en-US"/>
        </a:p>
      </dgm:t>
    </dgm:pt>
    <dgm:pt modelId="{05199A73-453E-48D7-8C83-7ABD9FCC5229}" type="pres">
      <dgm:prSet presAssocID="{FE4BF61D-049B-4B6F-8B69-82EF6B45AF10}" presName="parentText" presStyleLbl="node1" presStyleIdx="2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9B563934-E034-47DF-BA18-BC86E9297B18}" type="pres">
      <dgm:prSet presAssocID="{FE4BF61D-049B-4B6F-8B69-82EF6B45AF10}" presName="negativeSpace" presStyleCnt="0"/>
      <dgm:spPr/>
    </dgm:pt>
    <dgm:pt modelId="{350A870C-9AA0-4860-A50C-81B1652B432D}" type="pres">
      <dgm:prSet presAssocID="{FE4BF61D-049B-4B6F-8B69-82EF6B45AF10}" presName="childText" presStyleLbl="conFgAcc1" presStyleIdx="2" presStyleCnt="5">
        <dgm:presLayoutVars>
          <dgm:bulletEnabled val="1"/>
        </dgm:presLayoutVars>
      </dgm:prSet>
      <dgm:spPr/>
    </dgm:pt>
    <dgm:pt modelId="{F270C05F-1B9B-4973-BB78-C389D1D6631D}" type="pres">
      <dgm:prSet presAssocID="{5DAA9C00-5B47-4E31-BC1F-D153091C035C}" presName="spaceBetweenRectangles" presStyleCnt="0"/>
      <dgm:spPr/>
    </dgm:pt>
    <dgm:pt modelId="{B85B6613-CD68-4106-8F52-347BF031336E}" type="pres">
      <dgm:prSet presAssocID="{F4957FEF-06A3-421B-A9F4-515977A8E734}" presName="parentLin" presStyleCnt="0"/>
      <dgm:spPr/>
    </dgm:pt>
    <dgm:pt modelId="{C78F7198-775A-4E2C-95F0-A36C6AE18338}" type="pres">
      <dgm:prSet presAssocID="{F4957FEF-06A3-421B-A9F4-515977A8E734}" presName="parentLeftMargin" presStyleLbl="node1" presStyleIdx="2" presStyleCnt="5"/>
      <dgm:spPr/>
      <dgm:t>
        <a:bodyPr/>
        <a:lstStyle/>
        <a:p>
          <a:endParaRPr lang="zh-CN" altLang="en-US"/>
        </a:p>
      </dgm:t>
    </dgm:pt>
    <dgm:pt modelId="{59E0A752-A0F5-47D9-8CB1-38B4A7A9DADE}" type="pres">
      <dgm:prSet presAssocID="{F4957FEF-06A3-421B-A9F4-515977A8E734}" presName="parentText" presStyleLbl="node1" presStyleIdx="3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9D4FE6B7-DCA8-4FDC-A821-26ACBF5BBCCF}" type="pres">
      <dgm:prSet presAssocID="{F4957FEF-06A3-421B-A9F4-515977A8E734}" presName="negativeSpace" presStyleCnt="0"/>
      <dgm:spPr/>
    </dgm:pt>
    <dgm:pt modelId="{90EC6758-910D-470E-B229-5C6F5C3E26D5}" type="pres">
      <dgm:prSet presAssocID="{F4957FEF-06A3-421B-A9F4-515977A8E734}" presName="childText" presStyleLbl="conFgAcc1" presStyleIdx="3" presStyleCnt="5">
        <dgm:presLayoutVars>
          <dgm:bulletEnabled val="1"/>
        </dgm:presLayoutVars>
      </dgm:prSet>
      <dgm:spPr/>
    </dgm:pt>
    <dgm:pt modelId="{46E06398-0D5B-4AC3-A3EE-152F4DB85939}" type="pres">
      <dgm:prSet presAssocID="{1625EE97-4EAE-4CE4-9993-8273798455BD}" presName="spaceBetweenRectangles" presStyleCnt="0"/>
      <dgm:spPr/>
    </dgm:pt>
    <dgm:pt modelId="{ED3D7B2A-3712-4D67-9616-F73C2F83E255}" type="pres">
      <dgm:prSet presAssocID="{8AD83E47-B3ED-4285-A925-9C064B8838E0}" presName="parentLin" presStyleCnt="0"/>
      <dgm:spPr/>
    </dgm:pt>
    <dgm:pt modelId="{C9C333B9-EF00-48D4-A70A-26EBAC486C98}" type="pres">
      <dgm:prSet presAssocID="{8AD83E47-B3ED-4285-A925-9C064B8838E0}" presName="parentLeftMargin" presStyleLbl="node1" presStyleIdx="3" presStyleCnt="5"/>
      <dgm:spPr/>
      <dgm:t>
        <a:bodyPr/>
        <a:lstStyle/>
        <a:p>
          <a:endParaRPr lang="zh-CN" altLang="en-US"/>
        </a:p>
      </dgm:t>
    </dgm:pt>
    <dgm:pt modelId="{47D21CB3-D999-4BD1-B111-C88CF6F296F9}" type="pres">
      <dgm:prSet presAssocID="{8AD83E47-B3ED-4285-A925-9C064B8838E0}" presName="parentText" presStyleLbl="node1" presStyleIdx="4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8EA9374E-D502-4786-B8B9-CE84758992E7}" type="pres">
      <dgm:prSet presAssocID="{8AD83E47-B3ED-4285-A925-9C064B8838E0}" presName="negativeSpace" presStyleCnt="0"/>
      <dgm:spPr/>
    </dgm:pt>
    <dgm:pt modelId="{30F11050-CC2F-4167-802E-9351300C9D3E}" type="pres">
      <dgm:prSet presAssocID="{8AD83E47-B3ED-4285-A925-9C064B8838E0}" presName="childText" presStyleLbl="conFgAcc1" presStyleIdx="4" presStyleCnt="5">
        <dgm:presLayoutVars>
          <dgm:bulletEnabled val="1"/>
        </dgm:presLayoutVars>
      </dgm:prSet>
      <dgm:spPr/>
    </dgm:pt>
  </dgm:ptLst>
  <dgm:cxnLst>
    <dgm:cxn modelId="{889233B5-2195-4271-9457-F3E9390AC9E0}" srcId="{0A61E4CB-F0F6-4F01-B1DD-0E9E9BBC67D0}" destId="{8AD83E47-B3ED-4285-A925-9C064B8838E0}" srcOrd="4" destOrd="0" parTransId="{EFD86F48-EBF5-4DD3-96EC-4ED717C03142}" sibTransId="{60C4AD70-B9C8-468D-8CAE-3D27B50C4511}"/>
    <dgm:cxn modelId="{F6AFA297-DE1C-49BC-8679-2624158984C3}" type="presOf" srcId="{FC3B0B0C-2FB6-4A9C-AC1D-FD75461CEA4D}" destId="{D7C29C1F-2090-4897-AB30-438AAA4900EA}" srcOrd="1" destOrd="0" presId="urn:microsoft.com/office/officeart/2005/8/layout/list1"/>
    <dgm:cxn modelId="{D38531DE-8180-4E12-8078-49FB6D58F6FC}" type="presOf" srcId="{FC3B0B0C-2FB6-4A9C-AC1D-FD75461CEA4D}" destId="{1F8FEF32-092F-406E-98A2-B36B16B45204}" srcOrd="0" destOrd="0" presId="urn:microsoft.com/office/officeart/2005/8/layout/list1"/>
    <dgm:cxn modelId="{C6433B53-4BE8-477C-8476-94A89FB9E7BF}" srcId="{0A61E4CB-F0F6-4F01-B1DD-0E9E9BBC67D0}" destId="{FE4BF61D-049B-4B6F-8B69-82EF6B45AF10}" srcOrd="2" destOrd="0" parTransId="{987EE3E3-9BD7-4F69-9B69-0463AFD3554E}" sibTransId="{5DAA9C00-5B47-4E31-BC1F-D153091C035C}"/>
    <dgm:cxn modelId="{C30A36B7-C43B-43A1-8CF8-7D1AAE4A845F}" srcId="{0A61E4CB-F0F6-4F01-B1DD-0E9E9BBC67D0}" destId="{FC3B0B0C-2FB6-4A9C-AC1D-FD75461CEA4D}" srcOrd="1" destOrd="0" parTransId="{CEA54DC8-72DC-4744-BAC4-AF1538B41971}" sibTransId="{6434386C-A1EB-456F-96C2-8D2083FE6365}"/>
    <dgm:cxn modelId="{D057EC32-7E54-413F-BC86-E3226A32377F}" type="presOf" srcId="{3050025C-2C61-4AF5-9B52-5A8BA0107838}" destId="{55EAC9EF-DB05-40B3-82FF-FA985BE12A4E}" srcOrd="1" destOrd="0" presId="urn:microsoft.com/office/officeart/2005/8/layout/list1"/>
    <dgm:cxn modelId="{2888E92D-5A53-45FC-ABFD-3DF50BFB4BAF}" type="presOf" srcId="{8AD83E47-B3ED-4285-A925-9C064B8838E0}" destId="{47D21CB3-D999-4BD1-B111-C88CF6F296F9}" srcOrd="1" destOrd="0" presId="urn:microsoft.com/office/officeart/2005/8/layout/list1"/>
    <dgm:cxn modelId="{99CBFEE9-7375-4BDB-B233-2E82CF4E048E}" type="presOf" srcId="{0A61E4CB-F0F6-4F01-B1DD-0E9E9BBC67D0}" destId="{8AB9D6F6-887F-46C7-A5D8-16293F4BC0CF}" srcOrd="0" destOrd="0" presId="urn:microsoft.com/office/officeart/2005/8/layout/list1"/>
    <dgm:cxn modelId="{A74F6FBC-13E6-4453-A3EF-164FB52B2BF6}" srcId="{0A61E4CB-F0F6-4F01-B1DD-0E9E9BBC67D0}" destId="{3050025C-2C61-4AF5-9B52-5A8BA0107838}" srcOrd="0" destOrd="0" parTransId="{7730697B-6F51-47F5-AC88-8BBDED3BD7F5}" sibTransId="{E4E67624-514C-485C-BE6C-EA1B8F88B70F}"/>
    <dgm:cxn modelId="{373F3C4F-1F9E-47E8-B917-E5F45FD5F942}" type="presOf" srcId="{F4957FEF-06A3-421B-A9F4-515977A8E734}" destId="{59E0A752-A0F5-47D9-8CB1-38B4A7A9DADE}" srcOrd="1" destOrd="0" presId="urn:microsoft.com/office/officeart/2005/8/layout/list1"/>
    <dgm:cxn modelId="{9D8DBE32-B37D-40C6-89A7-F846D619B5A2}" type="presOf" srcId="{FE4BF61D-049B-4B6F-8B69-82EF6B45AF10}" destId="{885B4BF4-55F7-4CA5-8916-1C21831DFCE4}" srcOrd="0" destOrd="0" presId="urn:microsoft.com/office/officeart/2005/8/layout/list1"/>
    <dgm:cxn modelId="{980FB171-0BA4-4331-A0CB-4C54C585F090}" srcId="{0A61E4CB-F0F6-4F01-B1DD-0E9E9BBC67D0}" destId="{F4957FEF-06A3-421B-A9F4-515977A8E734}" srcOrd="3" destOrd="0" parTransId="{2BB00301-4D6E-492D-9834-2BD61BA29CE2}" sibTransId="{1625EE97-4EAE-4CE4-9993-8273798455BD}"/>
    <dgm:cxn modelId="{B648FBCC-7A36-4647-ACFC-6C5BF63CE651}" type="presOf" srcId="{F4957FEF-06A3-421B-A9F4-515977A8E734}" destId="{C78F7198-775A-4E2C-95F0-A36C6AE18338}" srcOrd="0" destOrd="0" presId="urn:microsoft.com/office/officeart/2005/8/layout/list1"/>
    <dgm:cxn modelId="{BCCF1E35-3751-4FDB-90CE-B2441BA630BD}" type="presOf" srcId="{FE4BF61D-049B-4B6F-8B69-82EF6B45AF10}" destId="{05199A73-453E-48D7-8C83-7ABD9FCC5229}" srcOrd="1" destOrd="0" presId="urn:microsoft.com/office/officeart/2005/8/layout/list1"/>
    <dgm:cxn modelId="{EAFE099E-46C1-44CD-94F5-44EC54115269}" type="presOf" srcId="{3050025C-2C61-4AF5-9B52-5A8BA0107838}" destId="{5766F478-0E88-4FEC-AFEB-94D9A9F4E9B0}" srcOrd="0" destOrd="0" presId="urn:microsoft.com/office/officeart/2005/8/layout/list1"/>
    <dgm:cxn modelId="{1CDCDBA5-EFE3-43E2-8E27-68E9927E2449}" type="presOf" srcId="{8AD83E47-B3ED-4285-A925-9C064B8838E0}" destId="{C9C333B9-EF00-48D4-A70A-26EBAC486C98}" srcOrd="0" destOrd="0" presId="urn:microsoft.com/office/officeart/2005/8/layout/list1"/>
    <dgm:cxn modelId="{A27DF8D0-0151-4A49-AE2B-FD9F910E642B}" type="presParOf" srcId="{8AB9D6F6-887F-46C7-A5D8-16293F4BC0CF}" destId="{2B8B28A6-3154-4298-8270-CDE828493BFD}" srcOrd="0" destOrd="0" presId="urn:microsoft.com/office/officeart/2005/8/layout/list1"/>
    <dgm:cxn modelId="{5925B82C-2E3E-424A-9442-16668EAE7B97}" type="presParOf" srcId="{2B8B28A6-3154-4298-8270-CDE828493BFD}" destId="{5766F478-0E88-4FEC-AFEB-94D9A9F4E9B0}" srcOrd="0" destOrd="0" presId="urn:microsoft.com/office/officeart/2005/8/layout/list1"/>
    <dgm:cxn modelId="{81112677-DEE4-41BE-A31A-421AEF2240A3}" type="presParOf" srcId="{2B8B28A6-3154-4298-8270-CDE828493BFD}" destId="{55EAC9EF-DB05-40B3-82FF-FA985BE12A4E}" srcOrd="1" destOrd="0" presId="urn:microsoft.com/office/officeart/2005/8/layout/list1"/>
    <dgm:cxn modelId="{9604E3A2-506E-4282-8422-ABA4070E98E5}" type="presParOf" srcId="{8AB9D6F6-887F-46C7-A5D8-16293F4BC0CF}" destId="{633A0B12-50B2-4709-AE2B-A80E7FAFC829}" srcOrd="1" destOrd="0" presId="urn:microsoft.com/office/officeart/2005/8/layout/list1"/>
    <dgm:cxn modelId="{CACF184F-C9AF-4463-93F9-404EDA728130}" type="presParOf" srcId="{8AB9D6F6-887F-46C7-A5D8-16293F4BC0CF}" destId="{D064ED98-F720-4A01-BD69-B5EB9AF960BC}" srcOrd="2" destOrd="0" presId="urn:microsoft.com/office/officeart/2005/8/layout/list1"/>
    <dgm:cxn modelId="{AB196F65-2CA7-4C75-A979-83084784346B}" type="presParOf" srcId="{8AB9D6F6-887F-46C7-A5D8-16293F4BC0CF}" destId="{098A9E1A-3D6E-4EA0-A61B-48BCA958BCD9}" srcOrd="3" destOrd="0" presId="urn:microsoft.com/office/officeart/2005/8/layout/list1"/>
    <dgm:cxn modelId="{748C4710-D6A2-45BC-A2B6-5D564C5B0FE5}" type="presParOf" srcId="{8AB9D6F6-887F-46C7-A5D8-16293F4BC0CF}" destId="{3F57A69D-465B-4E17-921C-46195F091CA7}" srcOrd="4" destOrd="0" presId="urn:microsoft.com/office/officeart/2005/8/layout/list1"/>
    <dgm:cxn modelId="{BB4235BA-F082-49C1-926F-A14AA5B87122}" type="presParOf" srcId="{3F57A69D-465B-4E17-921C-46195F091CA7}" destId="{1F8FEF32-092F-406E-98A2-B36B16B45204}" srcOrd="0" destOrd="0" presId="urn:microsoft.com/office/officeart/2005/8/layout/list1"/>
    <dgm:cxn modelId="{FAF53563-3254-4A7F-8E91-42B520B01102}" type="presParOf" srcId="{3F57A69D-465B-4E17-921C-46195F091CA7}" destId="{D7C29C1F-2090-4897-AB30-438AAA4900EA}" srcOrd="1" destOrd="0" presId="urn:microsoft.com/office/officeart/2005/8/layout/list1"/>
    <dgm:cxn modelId="{D230BB64-63A4-4176-A21F-A90D40BD22D8}" type="presParOf" srcId="{8AB9D6F6-887F-46C7-A5D8-16293F4BC0CF}" destId="{B059022F-81A0-40B8-9C0E-18627B297047}" srcOrd="5" destOrd="0" presId="urn:microsoft.com/office/officeart/2005/8/layout/list1"/>
    <dgm:cxn modelId="{9C93AE1E-1F60-40E0-B479-C27D6A602D57}" type="presParOf" srcId="{8AB9D6F6-887F-46C7-A5D8-16293F4BC0CF}" destId="{F0380638-26A8-46C1-9F5A-14ABC816FB47}" srcOrd="6" destOrd="0" presId="urn:microsoft.com/office/officeart/2005/8/layout/list1"/>
    <dgm:cxn modelId="{25DFA95B-B5E4-4331-B7C5-BCE607966173}" type="presParOf" srcId="{8AB9D6F6-887F-46C7-A5D8-16293F4BC0CF}" destId="{E361D812-E738-4A9E-9639-F883E70E1C72}" srcOrd="7" destOrd="0" presId="urn:microsoft.com/office/officeart/2005/8/layout/list1"/>
    <dgm:cxn modelId="{90EEBD45-35AB-4B84-AC8F-3CF64704C28E}" type="presParOf" srcId="{8AB9D6F6-887F-46C7-A5D8-16293F4BC0CF}" destId="{AC5161D0-8A81-4B56-BD5B-6C7838193838}" srcOrd="8" destOrd="0" presId="urn:microsoft.com/office/officeart/2005/8/layout/list1"/>
    <dgm:cxn modelId="{B65ECC40-C4B2-4DBB-A767-813ADDC94A0B}" type="presParOf" srcId="{AC5161D0-8A81-4B56-BD5B-6C7838193838}" destId="{885B4BF4-55F7-4CA5-8916-1C21831DFCE4}" srcOrd="0" destOrd="0" presId="urn:microsoft.com/office/officeart/2005/8/layout/list1"/>
    <dgm:cxn modelId="{E7916FF0-A151-4E61-877D-69FBC44D8436}" type="presParOf" srcId="{AC5161D0-8A81-4B56-BD5B-6C7838193838}" destId="{05199A73-453E-48D7-8C83-7ABD9FCC5229}" srcOrd="1" destOrd="0" presId="urn:microsoft.com/office/officeart/2005/8/layout/list1"/>
    <dgm:cxn modelId="{5B617D36-F6BC-45FF-921A-BADE98308866}" type="presParOf" srcId="{8AB9D6F6-887F-46C7-A5D8-16293F4BC0CF}" destId="{9B563934-E034-47DF-BA18-BC86E9297B18}" srcOrd="9" destOrd="0" presId="urn:microsoft.com/office/officeart/2005/8/layout/list1"/>
    <dgm:cxn modelId="{6908BAD6-DFFA-4721-BD08-FB18B6BC98B9}" type="presParOf" srcId="{8AB9D6F6-887F-46C7-A5D8-16293F4BC0CF}" destId="{350A870C-9AA0-4860-A50C-81B1652B432D}" srcOrd="10" destOrd="0" presId="urn:microsoft.com/office/officeart/2005/8/layout/list1"/>
    <dgm:cxn modelId="{6DFDAF0A-45D3-4DCF-BF1B-119CA4500B52}" type="presParOf" srcId="{8AB9D6F6-887F-46C7-A5D8-16293F4BC0CF}" destId="{F270C05F-1B9B-4973-BB78-C389D1D6631D}" srcOrd="11" destOrd="0" presId="urn:microsoft.com/office/officeart/2005/8/layout/list1"/>
    <dgm:cxn modelId="{9FFE9D90-9F9E-41A2-A8B7-16B96AE48889}" type="presParOf" srcId="{8AB9D6F6-887F-46C7-A5D8-16293F4BC0CF}" destId="{B85B6613-CD68-4106-8F52-347BF031336E}" srcOrd="12" destOrd="0" presId="urn:microsoft.com/office/officeart/2005/8/layout/list1"/>
    <dgm:cxn modelId="{7A41713B-513C-4CD2-8243-5182EECA7BF6}" type="presParOf" srcId="{B85B6613-CD68-4106-8F52-347BF031336E}" destId="{C78F7198-775A-4E2C-95F0-A36C6AE18338}" srcOrd="0" destOrd="0" presId="urn:microsoft.com/office/officeart/2005/8/layout/list1"/>
    <dgm:cxn modelId="{1588EBAE-EC43-49FA-A911-0A499534EA26}" type="presParOf" srcId="{B85B6613-CD68-4106-8F52-347BF031336E}" destId="{59E0A752-A0F5-47D9-8CB1-38B4A7A9DADE}" srcOrd="1" destOrd="0" presId="urn:microsoft.com/office/officeart/2005/8/layout/list1"/>
    <dgm:cxn modelId="{C5F1DD86-D37A-4C38-B5E5-5A3CFE9EF758}" type="presParOf" srcId="{8AB9D6F6-887F-46C7-A5D8-16293F4BC0CF}" destId="{9D4FE6B7-DCA8-4FDC-A821-26ACBF5BBCCF}" srcOrd="13" destOrd="0" presId="urn:microsoft.com/office/officeart/2005/8/layout/list1"/>
    <dgm:cxn modelId="{6008A0C8-F140-4BF5-B827-40621A470A21}" type="presParOf" srcId="{8AB9D6F6-887F-46C7-A5D8-16293F4BC0CF}" destId="{90EC6758-910D-470E-B229-5C6F5C3E26D5}" srcOrd="14" destOrd="0" presId="urn:microsoft.com/office/officeart/2005/8/layout/list1"/>
    <dgm:cxn modelId="{073552F5-7567-42F0-8DAC-ED972093179B}" type="presParOf" srcId="{8AB9D6F6-887F-46C7-A5D8-16293F4BC0CF}" destId="{46E06398-0D5B-4AC3-A3EE-152F4DB85939}" srcOrd="15" destOrd="0" presId="urn:microsoft.com/office/officeart/2005/8/layout/list1"/>
    <dgm:cxn modelId="{535BF17B-E608-4CF6-8D10-CF9C43F9D816}" type="presParOf" srcId="{8AB9D6F6-887F-46C7-A5D8-16293F4BC0CF}" destId="{ED3D7B2A-3712-4D67-9616-F73C2F83E255}" srcOrd="16" destOrd="0" presId="urn:microsoft.com/office/officeart/2005/8/layout/list1"/>
    <dgm:cxn modelId="{574FA61C-CB76-44FF-86F0-391B30363DB7}" type="presParOf" srcId="{ED3D7B2A-3712-4D67-9616-F73C2F83E255}" destId="{C9C333B9-EF00-48D4-A70A-26EBAC486C98}" srcOrd="0" destOrd="0" presId="urn:microsoft.com/office/officeart/2005/8/layout/list1"/>
    <dgm:cxn modelId="{F28DDABC-8053-4FE1-8C60-44057F1422E6}" type="presParOf" srcId="{ED3D7B2A-3712-4D67-9616-F73C2F83E255}" destId="{47D21CB3-D999-4BD1-B111-C88CF6F296F9}" srcOrd="1" destOrd="0" presId="urn:microsoft.com/office/officeart/2005/8/layout/list1"/>
    <dgm:cxn modelId="{776A0033-C2AF-4BBD-89E5-E745C83DBB06}" type="presParOf" srcId="{8AB9D6F6-887F-46C7-A5D8-16293F4BC0CF}" destId="{8EA9374E-D502-4786-B8B9-CE84758992E7}" srcOrd="17" destOrd="0" presId="urn:microsoft.com/office/officeart/2005/8/layout/list1"/>
    <dgm:cxn modelId="{3B3BAF95-AAE1-4DE9-87BA-7EACE0E1F3D9}" type="presParOf" srcId="{8AB9D6F6-887F-46C7-A5D8-16293F4BC0CF}" destId="{30F11050-CC2F-4167-802E-9351300C9D3E}" srcOrd="18" destOrd="0" presId="urn:microsoft.com/office/officeart/2005/8/layout/list1"/>
  </dgm:cxnLst>
  <dgm:bg/>
  <dgm:whole/>
  <dgm:extLst>
    <a:ext uri="http://schemas.microsoft.com/office/drawing/2008/diagram">
      <dsp:dataModelExt xmlns=""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0A61E4CB-F0F6-4F01-B1DD-0E9E9BBC67D0}" type="doc">
      <dgm:prSet loTypeId="urn:microsoft.com/office/officeart/2005/8/layout/list1" loCatId="list" qsTypeId="urn:microsoft.com/office/officeart/2005/8/quickstyle/simple4" qsCatId="simple" csTypeId="urn:microsoft.com/office/officeart/2005/8/colors/accent2_1" csCatId="accent2" phldr="1"/>
      <dgm:spPr/>
      <dgm:t>
        <a:bodyPr/>
        <a:lstStyle/>
        <a:p>
          <a:endParaRPr lang="zh-CN" altLang="en-US"/>
        </a:p>
      </dgm:t>
    </dgm:pt>
    <dgm:pt modelId="{3050025C-2C61-4AF5-9B52-5A8BA0107838}">
      <dgm:prSet phldrT="[文本]"/>
      <dgm:spPr/>
      <dgm:t>
        <a:bodyPr/>
        <a:lstStyle/>
        <a:p>
          <a:r>
            <a:rPr lang="zh-CN" altLang="en-US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</a:rPr>
            <a:t>万得量化平台架构</a:t>
          </a:r>
          <a:endParaRPr lang="zh-CN" altLang="en-US" dirty="0">
            <a:solidFill>
              <a:schemeClr val="tx1"/>
            </a:solidFill>
            <a:latin typeface="微软雅黑" pitchFamily="34" charset="-122"/>
            <a:ea typeface="微软雅黑" pitchFamily="34" charset="-122"/>
          </a:endParaRPr>
        </a:p>
      </dgm:t>
    </dgm:pt>
    <dgm:pt modelId="{7730697B-6F51-47F5-AC88-8BBDED3BD7F5}" type="parTrans" cxnId="{A74F6FBC-13E6-4453-A3EF-164FB52B2BF6}">
      <dgm:prSet/>
      <dgm:spPr/>
      <dgm:t>
        <a:bodyPr/>
        <a:lstStyle/>
        <a:p>
          <a:endParaRPr lang="zh-CN" altLang="en-US">
            <a:latin typeface="微软雅黑" pitchFamily="34" charset="-122"/>
            <a:ea typeface="微软雅黑" pitchFamily="34" charset="-122"/>
          </a:endParaRPr>
        </a:p>
      </dgm:t>
    </dgm:pt>
    <dgm:pt modelId="{E4E67624-514C-485C-BE6C-EA1B8F88B70F}" type="sibTrans" cxnId="{A74F6FBC-13E6-4453-A3EF-164FB52B2BF6}">
      <dgm:prSet/>
      <dgm:spPr/>
      <dgm:t>
        <a:bodyPr/>
        <a:lstStyle/>
        <a:p>
          <a:endParaRPr lang="zh-CN" altLang="en-US">
            <a:latin typeface="微软雅黑" pitchFamily="34" charset="-122"/>
            <a:ea typeface="微软雅黑" pitchFamily="34" charset="-122"/>
          </a:endParaRPr>
        </a:p>
      </dgm:t>
    </dgm:pt>
    <dgm:pt modelId="{FC3B0B0C-2FB6-4A9C-AC1D-FD75461CEA4D}">
      <dgm:prSet phldrT="[文本]"/>
      <dgm:spPr/>
      <dgm:t>
        <a:bodyPr/>
        <a:lstStyle/>
        <a:p>
          <a:r>
            <a:rPr lang="zh-CN" altLang="en-US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</a:rPr>
            <a:t>启用</a:t>
          </a:r>
          <a:r>
            <a:rPr lang="en-US" altLang="zh-CN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</a:rPr>
            <a:t>C#</a:t>
          </a:r>
          <a:r>
            <a:rPr lang="zh-CN" altLang="en-US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</a:rPr>
            <a:t>量化接口</a:t>
          </a:r>
          <a:endParaRPr lang="zh-CN" altLang="en-US" dirty="0">
            <a:solidFill>
              <a:schemeClr val="tx1"/>
            </a:solidFill>
            <a:latin typeface="微软雅黑" pitchFamily="34" charset="-122"/>
            <a:ea typeface="微软雅黑" pitchFamily="34" charset="-122"/>
          </a:endParaRPr>
        </a:p>
      </dgm:t>
    </dgm:pt>
    <dgm:pt modelId="{CEA54DC8-72DC-4744-BAC4-AF1538B41971}" type="parTrans" cxnId="{C30A36B7-C43B-43A1-8CF8-7D1AAE4A845F}">
      <dgm:prSet/>
      <dgm:spPr/>
      <dgm:t>
        <a:bodyPr/>
        <a:lstStyle/>
        <a:p>
          <a:endParaRPr lang="zh-CN" altLang="en-US">
            <a:latin typeface="微软雅黑" pitchFamily="34" charset="-122"/>
            <a:ea typeface="微软雅黑" pitchFamily="34" charset="-122"/>
          </a:endParaRPr>
        </a:p>
      </dgm:t>
    </dgm:pt>
    <dgm:pt modelId="{6434386C-A1EB-456F-96C2-8D2083FE6365}" type="sibTrans" cxnId="{C30A36B7-C43B-43A1-8CF8-7D1AAE4A845F}">
      <dgm:prSet/>
      <dgm:spPr/>
      <dgm:t>
        <a:bodyPr/>
        <a:lstStyle/>
        <a:p>
          <a:endParaRPr lang="zh-CN" altLang="en-US">
            <a:latin typeface="微软雅黑" pitchFamily="34" charset="-122"/>
            <a:ea typeface="微软雅黑" pitchFamily="34" charset="-122"/>
          </a:endParaRPr>
        </a:p>
      </dgm:t>
    </dgm:pt>
    <dgm:pt modelId="{FE4BF61D-049B-4B6F-8B69-82EF6B45AF10}">
      <dgm:prSet phldrT="[文本]"/>
      <dgm:spPr/>
      <dgm:t>
        <a:bodyPr/>
        <a:lstStyle/>
        <a:p>
          <a:r>
            <a:rPr lang="zh-CN" altLang="en-US" dirty="0" smtClean="0">
              <a:latin typeface="微软雅黑" pitchFamily="34" charset="-122"/>
              <a:ea typeface="微软雅黑" pitchFamily="34" charset="-122"/>
            </a:rPr>
            <a:t>数据接口</a:t>
          </a:r>
          <a:endParaRPr lang="zh-CN" altLang="en-US" dirty="0">
            <a:latin typeface="微软雅黑" pitchFamily="34" charset="-122"/>
            <a:ea typeface="微软雅黑" pitchFamily="34" charset="-122"/>
          </a:endParaRPr>
        </a:p>
      </dgm:t>
    </dgm:pt>
    <dgm:pt modelId="{987EE3E3-9BD7-4F69-9B69-0463AFD3554E}" type="parTrans" cxnId="{C6433B53-4BE8-477C-8476-94A89FB9E7BF}">
      <dgm:prSet/>
      <dgm:spPr/>
      <dgm:t>
        <a:bodyPr/>
        <a:lstStyle/>
        <a:p>
          <a:endParaRPr lang="zh-CN" altLang="en-US">
            <a:latin typeface="微软雅黑" pitchFamily="34" charset="-122"/>
            <a:ea typeface="微软雅黑" pitchFamily="34" charset="-122"/>
          </a:endParaRPr>
        </a:p>
      </dgm:t>
    </dgm:pt>
    <dgm:pt modelId="{5DAA9C00-5B47-4E31-BC1F-D153091C035C}" type="sibTrans" cxnId="{C6433B53-4BE8-477C-8476-94A89FB9E7BF}">
      <dgm:prSet/>
      <dgm:spPr/>
      <dgm:t>
        <a:bodyPr/>
        <a:lstStyle/>
        <a:p>
          <a:endParaRPr lang="zh-CN" altLang="en-US">
            <a:latin typeface="微软雅黑" pitchFamily="34" charset="-122"/>
            <a:ea typeface="微软雅黑" pitchFamily="34" charset="-122"/>
          </a:endParaRPr>
        </a:p>
      </dgm:t>
    </dgm:pt>
    <dgm:pt modelId="{F4957FEF-06A3-421B-A9F4-515977A8E734}">
      <dgm:prSet phldrT="[文本]"/>
      <dgm:spPr/>
      <dgm:t>
        <a:bodyPr/>
        <a:lstStyle/>
        <a:p>
          <a:r>
            <a:rPr lang="zh-CN" altLang="en-US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</a:rPr>
            <a:t>交易接口</a:t>
          </a:r>
          <a:endParaRPr lang="zh-CN" altLang="en-US" dirty="0">
            <a:solidFill>
              <a:schemeClr val="tx1"/>
            </a:solidFill>
            <a:latin typeface="微软雅黑" pitchFamily="34" charset="-122"/>
            <a:ea typeface="微软雅黑" pitchFamily="34" charset="-122"/>
          </a:endParaRPr>
        </a:p>
      </dgm:t>
    </dgm:pt>
    <dgm:pt modelId="{2BB00301-4D6E-492D-9834-2BD61BA29CE2}" type="parTrans" cxnId="{980FB171-0BA4-4331-A0CB-4C54C585F090}">
      <dgm:prSet/>
      <dgm:spPr/>
      <dgm:t>
        <a:bodyPr/>
        <a:lstStyle/>
        <a:p>
          <a:endParaRPr lang="zh-CN" altLang="en-US">
            <a:latin typeface="微软雅黑" pitchFamily="34" charset="-122"/>
            <a:ea typeface="微软雅黑" pitchFamily="34" charset="-122"/>
          </a:endParaRPr>
        </a:p>
      </dgm:t>
    </dgm:pt>
    <dgm:pt modelId="{1625EE97-4EAE-4CE4-9993-8273798455BD}" type="sibTrans" cxnId="{980FB171-0BA4-4331-A0CB-4C54C585F090}">
      <dgm:prSet/>
      <dgm:spPr/>
      <dgm:t>
        <a:bodyPr/>
        <a:lstStyle/>
        <a:p>
          <a:endParaRPr lang="zh-CN" altLang="en-US">
            <a:latin typeface="微软雅黑" pitchFamily="34" charset="-122"/>
            <a:ea typeface="微软雅黑" pitchFamily="34" charset="-122"/>
          </a:endParaRPr>
        </a:p>
      </dgm:t>
    </dgm:pt>
    <dgm:pt modelId="{8AD83E47-B3ED-4285-A925-9C064B8838E0}">
      <dgm:prSet phldrT="[文本]"/>
      <dgm:spPr/>
      <dgm:t>
        <a:bodyPr/>
        <a:lstStyle/>
        <a:p>
          <a:r>
            <a:rPr lang="zh-CN" altLang="en-US" dirty="0" smtClean="0">
              <a:latin typeface="微软雅黑" pitchFamily="34" charset="-122"/>
              <a:ea typeface="微软雅黑" pitchFamily="34" charset="-122"/>
            </a:rPr>
            <a:t>进阶应用</a:t>
          </a:r>
          <a:endParaRPr lang="zh-CN" altLang="en-US" dirty="0">
            <a:latin typeface="微软雅黑" pitchFamily="34" charset="-122"/>
            <a:ea typeface="微软雅黑" pitchFamily="34" charset="-122"/>
          </a:endParaRPr>
        </a:p>
      </dgm:t>
    </dgm:pt>
    <dgm:pt modelId="{EFD86F48-EBF5-4DD3-96EC-4ED717C03142}" type="parTrans" cxnId="{889233B5-2195-4271-9457-F3E9390AC9E0}">
      <dgm:prSet/>
      <dgm:spPr/>
      <dgm:t>
        <a:bodyPr/>
        <a:lstStyle/>
        <a:p>
          <a:endParaRPr lang="zh-CN" altLang="en-US">
            <a:latin typeface="微软雅黑" pitchFamily="34" charset="-122"/>
            <a:ea typeface="微软雅黑" pitchFamily="34" charset="-122"/>
          </a:endParaRPr>
        </a:p>
      </dgm:t>
    </dgm:pt>
    <dgm:pt modelId="{60C4AD70-B9C8-468D-8CAE-3D27B50C4511}" type="sibTrans" cxnId="{889233B5-2195-4271-9457-F3E9390AC9E0}">
      <dgm:prSet/>
      <dgm:spPr/>
      <dgm:t>
        <a:bodyPr/>
        <a:lstStyle/>
        <a:p>
          <a:endParaRPr lang="zh-CN" altLang="en-US">
            <a:latin typeface="微软雅黑" pitchFamily="34" charset="-122"/>
            <a:ea typeface="微软雅黑" pitchFamily="34" charset="-122"/>
          </a:endParaRPr>
        </a:p>
      </dgm:t>
    </dgm:pt>
    <dgm:pt modelId="{8AB9D6F6-887F-46C7-A5D8-16293F4BC0CF}" type="pres">
      <dgm:prSet presAssocID="{0A61E4CB-F0F6-4F01-B1DD-0E9E9BBC67D0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2B8B28A6-3154-4298-8270-CDE828493BFD}" type="pres">
      <dgm:prSet presAssocID="{3050025C-2C61-4AF5-9B52-5A8BA0107838}" presName="parentLin" presStyleCnt="0"/>
      <dgm:spPr/>
    </dgm:pt>
    <dgm:pt modelId="{5766F478-0E88-4FEC-AFEB-94D9A9F4E9B0}" type="pres">
      <dgm:prSet presAssocID="{3050025C-2C61-4AF5-9B52-5A8BA0107838}" presName="parentLeftMargin" presStyleLbl="node1" presStyleIdx="0" presStyleCnt="5"/>
      <dgm:spPr/>
      <dgm:t>
        <a:bodyPr/>
        <a:lstStyle/>
        <a:p>
          <a:endParaRPr lang="zh-CN" altLang="en-US"/>
        </a:p>
      </dgm:t>
    </dgm:pt>
    <dgm:pt modelId="{55EAC9EF-DB05-40B3-82FF-FA985BE12A4E}" type="pres">
      <dgm:prSet presAssocID="{3050025C-2C61-4AF5-9B52-5A8BA0107838}" presName="parentText" presStyleLbl="node1" presStyleIdx="0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633A0B12-50B2-4709-AE2B-A80E7FAFC829}" type="pres">
      <dgm:prSet presAssocID="{3050025C-2C61-4AF5-9B52-5A8BA0107838}" presName="negativeSpace" presStyleCnt="0"/>
      <dgm:spPr/>
    </dgm:pt>
    <dgm:pt modelId="{D064ED98-F720-4A01-BD69-B5EB9AF960BC}" type="pres">
      <dgm:prSet presAssocID="{3050025C-2C61-4AF5-9B52-5A8BA0107838}" presName="childText" presStyleLbl="conFgAcc1" presStyleIdx="0" presStyleCnt="5">
        <dgm:presLayoutVars>
          <dgm:bulletEnabled val="1"/>
        </dgm:presLayoutVars>
      </dgm:prSet>
      <dgm:spPr/>
    </dgm:pt>
    <dgm:pt modelId="{098A9E1A-3D6E-4EA0-A61B-48BCA958BCD9}" type="pres">
      <dgm:prSet presAssocID="{E4E67624-514C-485C-BE6C-EA1B8F88B70F}" presName="spaceBetweenRectangles" presStyleCnt="0"/>
      <dgm:spPr/>
    </dgm:pt>
    <dgm:pt modelId="{3F57A69D-465B-4E17-921C-46195F091CA7}" type="pres">
      <dgm:prSet presAssocID="{FC3B0B0C-2FB6-4A9C-AC1D-FD75461CEA4D}" presName="parentLin" presStyleCnt="0"/>
      <dgm:spPr/>
    </dgm:pt>
    <dgm:pt modelId="{1F8FEF32-092F-406E-98A2-B36B16B45204}" type="pres">
      <dgm:prSet presAssocID="{FC3B0B0C-2FB6-4A9C-AC1D-FD75461CEA4D}" presName="parentLeftMargin" presStyleLbl="node1" presStyleIdx="0" presStyleCnt="5"/>
      <dgm:spPr/>
      <dgm:t>
        <a:bodyPr/>
        <a:lstStyle/>
        <a:p>
          <a:endParaRPr lang="zh-CN" altLang="en-US"/>
        </a:p>
      </dgm:t>
    </dgm:pt>
    <dgm:pt modelId="{D7C29C1F-2090-4897-AB30-438AAA4900EA}" type="pres">
      <dgm:prSet presAssocID="{FC3B0B0C-2FB6-4A9C-AC1D-FD75461CEA4D}" presName="parentText" presStyleLbl="node1" presStyleIdx="1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B059022F-81A0-40B8-9C0E-18627B297047}" type="pres">
      <dgm:prSet presAssocID="{FC3B0B0C-2FB6-4A9C-AC1D-FD75461CEA4D}" presName="negativeSpace" presStyleCnt="0"/>
      <dgm:spPr/>
    </dgm:pt>
    <dgm:pt modelId="{F0380638-26A8-46C1-9F5A-14ABC816FB47}" type="pres">
      <dgm:prSet presAssocID="{FC3B0B0C-2FB6-4A9C-AC1D-FD75461CEA4D}" presName="childText" presStyleLbl="conFgAcc1" presStyleIdx="1" presStyleCnt="5">
        <dgm:presLayoutVars>
          <dgm:bulletEnabled val="1"/>
        </dgm:presLayoutVars>
      </dgm:prSet>
      <dgm:spPr/>
    </dgm:pt>
    <dgm:pt modelId="{E361D812-E738-4A9E-9639-F883E70E1C72}" type="pres">
      <dgm:prSet presAssocID="{6434386C-A1EB-456F-96C2-8D2083FE6365}" presName="spaceBetweenRectangles" presStyleCnt="0"/>
      <dgm:spPr/>
    </dgm:pt>
    <dgm:pt modelId="{AC5161D0-8A81-4B56-BD5B-6C7838193838}" type="pres">
      <dgm:prSet presAssocID="{FE4BF61D-049B-4B6F-8B69-82EF6B45AF10}" presName="parentLin" presStyleCnt="0"/>
      <dgm:spPr/>
    </dgm:pt>
    <dgm:pt modelId="{885B4BF4-55F7-4CA5-8916-1C21831DFCE4}" type="pres">
      <dgm:prSet presAssocID="{FE4BF61D-049B-4B6F-8B69-82EF6B45AF10}" presName="parentLeftMargin" presStyleLbl="node1" presStyleIdx="1" presStyleCnt="5"/>
      <dgm:spPr/>
      <dgm:t>
        <a:bodyPr/>
        <a:lstStyle/>
        <a:p>
          <a:endParaRPr lang="zh-CN" altLang="en-US"/>
        </a:p>
      </dgm:t>
    </dgm:pt>
    <dgm:pt modelId="{05199A73-453E-48D7-8C83-7ABD9FCC5229}" type="pres">
      <dgm:prSet presAssocID="{FE4BF61D-049B-4B6F-8B69-82EF6B45AF10}" presName="parentText" presStyleLbl="node1" presStyleIdx="2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9B563934-E034-47DF-BA18-BC86E9297B18}" type="pres">
      <dgm:prSet presAssocID="{FE4BF61D-049B-4B6F-8B69-82EF6B45AF10}" presName="negativeSpace" presStyleCnt="0"/>
      <dgm:spPr/>
    </dgm:pt>
    <dgm:pt modelId="{350A870C-9AA0-4860-A50C-81B1652B432D}" type="pres">
      <dgm:prSet presAssocID="{FE4BF61D-049B-4B6F-8B69-82EF6B45AF10}" presName="childText" presStyleLbl="conFgAcc1" presStyleIdx="2" presStyleCnt="5">
        <dgm:presLayoutVars>
          <dgm:bulletEnabled val="1"/>
        </dgm:presLayoutVars>
      </dgm:prSet>
      <dgm:spPr/>
    </dgm:pt>
    <dgm:pt modelId="{F270C05F-1B9B-4973-BB78-C389D1D6631D}" type="pres">
      <dgm:prSet presAssocID="{5DAA9C00-5B47-4E31-BC1F-D153091C035C}" presName="spaceBetweenRectangles" presStyleCnt="0"/>
      <dgm:spPr/>
    </dgm:pt>
    <dgm:pt modelId="{B85B6613-CD68-4106-8F52-347BF031336E}" type="pres">
      <dgm:prSet presAssocID="{F4957FEF-06A3-421B-A9F4-515977A8E734}" presName="parentLin" presStyleCnt="0"/>
      <dgm:spPr/>
    </dgm:pt>
    <dgm:pt modelId="{C78F7198-775A-4E2C-95F0-A36C6AE18338}" type="pres">
      <dgm:prSet presAssocID="{F4957FEF-06A3-421B-A9F4-515977A8E734}" presName="parentLeftMargin" presStyleLbl="node1" presStyleIdx="2" presStyleCnt="5"/>
      <dgm:spPr/>
      <dgm:t>
        <a:bodyPr/>
        <a:lstStyle/>
        <a:p>
          <a:endParaRPr lang="zh-CN" altLang="en-US"/>
        </a:p>
      </dgm:t>
    </dgm:pt>
    <dgm:pt modelId="{59E0A752-A0F5-47D9-8CB1-38B4A7A9DADE}" type="pres">
      <dgm:prSet presAssocID="{F4957FEF-06A3-421B-A9F4-515977A8E734}" presName="parentText" presStyleLbl="node1" presStyleIdx="3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9D4FE6B7-DCA8-4FDC-A821-26ACBF5BBCCF}" type="pres">
      <dgm:prSet presAssocID="{F4957FEF-06A3-421B-A9F4-515977A8E734}" presName="negativeSpace" presStyleCnt="0"/>
      <dgm:spPr/>
    </dgm:pt>
    <dgm:pt modelId="{90EC6758-910D-470E-B229-5C6F5C3E26D5}" type="pres">
      <dgm:prSet presAssocID="{F4957FEF-06A3-421B-A9F4-515977A8E734}" presName="childText" presStyleLbl="conFgAcc1" presStyleIdx="3" presStyleCnt="5">
        <dgm:presLayoutVars>
          <dgm:bulletEnabled val="1"/>
        </dgm:presLayoutVars>
      </dgm:prSet>
      <dgm:spPr/>
    </dgm:pt>
    <dgm:pt modelId="{46E06398-0D5B-4AC3-A3EE-152F4DB85939}" type="pres">
      <dgm:prSet presAssocID="{1625EE97-4EAE-4CE4-9993-8273798455BD}" presName="spaceBetweenRectangles" presStyleCnt="0"/>
      <dgm:spPr/>
    </dgm:pt>
    <dgm:pt modelId="{ED3D7B2A-3712-4D67-9616-F73C2F83E255}" type="pres">
      <dgm:prSet presAssocID="{8AD83E47-B3ED-4285-A925-9C064B8838E0}" presName="parentLin" presStyleCnt="0"/>
      <dgm:spPr/>
    </dgm:pt>
    <dgm:pt modelId="{C9C333B9-EF00-48D4-A70A-26EBAC486C98}" type="pres">
      <dgm:prSet presAssocID="{8AD83E47-B3ED-4285-A925-9C064B8838E0}" presName="parentLeftMargin" presStyleLbl="node1" presStyleIdx="3" presStyleCnt="5"/>
      <dgm:spPr/>
      <dgm:t>
        <a:bodyPr/>
        <a:lstStyle/>
        <a:p>
          <a:endParaRPr lang="zh-CN" altLang="en-US"/>
        </a:p>
      </dgm:t>
    </dgm:pt>
    <dgm:pt modelId="{47D21CB3-D999-4BD1-B111-C88CF6F296F9}" type="pres">
      <dgm:prSet presAssocID="{8AD83E47-B3ED-4285-A925-9C064B8838E0}" presName="parentText" presStyleLbl="node1" presStyleIdx="4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8EA9374E-D502-4786-B8B9-CE84758992E7}" type="pres">
      <dgm:prSet presAssocID="{8AD83E47-B3ED-4285-A925-9C064B8838E0}" presName="negativeSpace" presStyleCnt="0"/>
      <dgm:spPr/>
    </dgm:pt>
    <dgm:pt modelId="{30F11050-CC2F-4167-802E-9351300C9D3E}" type="pres">
      <dgm:prSet presAssocID="{8AD83E47-B3ED-4285-A925-9C064B8838E0}" presName="childText" presStyleLbl="conFgAcc1" presStyleIdx="4" presStyleCnt="5">
        <dgm:presLayoutVars>
          <dgm:bulletEnabled val="1"/>
        </dgm:presLayoutVars>
      </dgm:prSet>
      <dgm:spPr/>
    </dgm:pt>
  </dgm:ptLst>
  <dgm:cxnLst>
    <dgm:cxn modelId="{F09B1ECD-8C35-4E95-A718-F9E8EBA79DA6}" type="presOf" srcId="{8AD83E47-B3ED-4285-A925-9C064B8838E0}" destId="{C9C333B9-EF00-48D4-A70A-26EBAC486C98}" srcOrd="0" destOrd="0" presId="urn:microsoft.com/office/officeart/2005/8/layout/list1"/>
    <dgm:cxn modelId="{05B5831B-1FAF-4616-9C89-790836C5D023}" type="presOf" srcId="{3050025C-2C61-4AF5-9B52-5A8BA0107838}" destId="{55EAC9EF-DB05-40B3-82FF-FA985BE12A4E}" srcOrd="1" destOrd="0" presId="urn:microsoft.com/office/officeart/2005/8/layout/list1"/>
    <dgm:cxn modelId="{889233B5-2195-4271-9457-F3E9390AC9E0}" srcId="{0A61E4CB-F0F6-4F01-B1DD-0E9E9BBC67D0}" destId="{8AD83E47-B3ED-4285-A925-9C064B8838E0}" srcOrd="4" destOrd="0" parTransId="{EFD86F48-EBF5-4DD3-96EC-4ED717C03142}" sibTransId="{60C4AD70-B9C8-468D-8CAE-3D27B50C4511}"/>
    <dgm:cxn modelId="{C6433B53-4BE8-477C-8476-94A89FB9E7BF}" srcId="{0A61E4CB-F0F6-4F01-B1DD-0E9E9BBC67D0}" destId="{FE4BF61D-049B-4B6F-8B69-82EF6B45AF10}" srcOrd="2" destOrd="0" parTransId="{987EE3E3-9BD7-4F69-9B69-0463AFD3554E}" sibTransId="{5DAA9C00-5B47-4E31-BC1F-D153091C035C}"/>
    <dgm:cxn modelId="{C30A36B7-C43B-43A1-8CF8-7D1AAE4A845F}" srcId="{0A61E4CB-F0F6-4F01-B1DD-0E9E9BBC67D0}" destId="{FC3B0B0C-2FB6-4A9C-AC1D-FD75461CEA4D}" srcOrd="1" destOrd="0" parTransId="{CEA54DC8-72DC-4744-BAC4-AF1538B41971}" sibTransId="{6434386C-A1EB-456F-96C2-8D2083FE6365}"/>
    <dgm:cxn modelId="{3C03D940-8B5D-40DB-BD2E-3C14E370E195}" type="presOf" srcId="{3050025C-2C61-4AF5-9B52-5A8BA0107838}" destId="{5766F478-0E88-4FEC-AFEB-94D9A9F4E9B0}" srcOrd="0" destOrd="0" presId="urn:microsoft.com/office/officeart/2005/8/layout/list1"/>
    <dgm:cxn modelId="{283AED37-1C57-4908-8E96-BA49E4C48602}" type="presOf" srcId="{0A61E4CB-F0F6-4F01-B1DD-0E9E9BBC67D0}" destId="{8AB9D6F6-887F-46C7-A5D8-16293F4BC0CF}" srcOrd="0" destOrd="0" presId="urn:microsoft.com/office/officeart/2005/8/layout/list1"/>
    <dgm:cxn modelId="{0027B792-C707-42B0-A0C3-6EBF9D614BD8}" type="presOf" srcId="{8AD83E47-B3ED-4285-A925-9C064B8838E0}" destId="{47D21CB3-D999-4BD1-B111-C88CF6F296F9}" srcOrd="1" destOrd="0" presId="urn:microsoft.com/office/officeart/2005/8/layout/list1"/>
    <dgm:cxn modelId="{4F6D1F7F-0A3D-48EE-9F50-50DC2D0CE6FF}" type="presOf" srcId="{FE4BF61D-049B-4B6F-8B69-82EF6B45AF10}" destId="{05199A73-453E-48D7-8C83-7ABD9FCC5229}" srcOrd="1" destOrd="0" presId="urn:microsoft.com/office/officeart/2005/8/layout/list1"/>
    <dgm:cxn modelId="{2718F0A9-3DA5-46EC-BEF8-CF418FB7EE59}" type="presOf" srcId="{FE4BF61D-049B-4B6F-8B69-82EF6B45AF10}" destId="{885B4BF4-55F7-4CA5-8916-1C21831DFCE4}" srcOrd="0" destOrd="0" presId="urn:microsoft.com/office/officeart/2005/8/layout/list1"/>
    <dgm:cxn modelId="{A74F6FBC-13E6-4453-A3EF-164FB52B2BF6}" srcId="{0A61E4CB-F0F6-4F01-B1DD-0E9E9BBC67D0}" destId="{3050025C-2C61-4AF5-9B52-5A8BA0107838}" srcOrd="0" destOrd="0" parTransId="{7730697B-6F51-47F5-AC88-8BBDED3BD7F5}" sibTransId="{E4E67624-514C-485C-BE6C-EA1B8F88B70F}"/>
    <dgm:cxn modelId="{95963425-DC43-45AF-B86D-F48ADD6F56A6}" type="presOf" srcId="{F4957FEF-06A3-421B-A9F4-515977A8E734}" destId="{C78F7198-775A-4E2C-95F0-A36C6AE18338}" srcOrd="0" destOrd="0" presId="urn:microsoft.com/office/officeart/2005/8/layout/list1"/>
    <dgm:cxn modelId="{BB109537-CFA5-46F4-A729-701B732C9CC6}" type="presOf" srcId="{FC3B0B0C-2FB6-4A9C-AC1D-FD75461CEA4D}" destId="{1F8FEF32-092F-406E-98A2-B36B16B45204}" srcOrd="0" destOrd="0" presId="urn:microsoft.com/office/officeart/2005/8/layout/list1"/>
    <dgm:cxn modelId="{DE711DE1-50F5-4E1A-9E25-9E7C4E519461}" type="presOf" srcId="{F4957FEF-06A3-421B-A9F4-515977A8E734}" destId="{59E0A752-A0F5-47D9-8CB1-38B4A7A9DADE}" srcOrd="1" destOrd="0" presId="urn:microsoft.com/office/officeart/2005/8/layout/list1"/>
    <dgm:cxn modelId="{980FB171-0BA4-4331-A0CB-4C54C585F090}" srcId="{0A61E4CB-F0F6-4F01-B1DD-0E9E9BBC67D0}" destId="{F4957FEF-06A3-421B-A9F4-515977A8E734}" srcOrd="3" destOrd="0" parTransId="{2BB00301-4D6E-492D-9834-2BD61BA29CE2}" sibTransId="{1625EE97-4EAE-4CE4-9993-8273798455BD}"/>
    <dgm:cxn modelId="{289EFA4F-D1CB-4986-8C62-8787736EBAF8}" type="presOf" srcId="{FC3B0B0C-2FB6-4A9C-AC1D-FD75461CEA4D}" destId="{D7C29C1F-2090-4897-AB30-438AAA4900EA}" srcOrd="1" destOrd="0" presId="urn:microsoft.com/office/officeart/2005/8/layout/list1"/>
    <dgm:cxn modelId="{C49EA749-8D3F-4935-80CB-0D18BE1BBEC0}" type="presParOf" srcId="{8AB9D6F6-887F-46C7-A5D8-16293F4BC0CF}" destId="{2B8B28A6-3154-4298-8270-CDE828493BFD}" srcOrd="0" destOrd="0" presId="urn:microsoft.com/office/officeart/2005/8/layout/list1"/>
    <dgm:cxn modelId="{4FEFB4B6-CE90-4A13-99FC-B2EDE904FD23}" type="presParOf" srcId="{2B8B28A6-3154-4298-8270-CDE828493BFD}" destId="{5766F478-0E88-4FEC-AFEB-94D9A9F4E9B0}" srcOrd="0" destOrd="0" presId="urn:microsoft.com/office/officeart/2005/8/layout/list1"/>
    <dgm:cxn modelId="{57637624-2322-4A55-A642-FF5C9B7BF28E}" type="presParOf" srcId="{2B8B28A6-3154-4298-8270-CDE828493BFD}" destId="{55EAC9EF-DB05-40B3-82FF-FA985BE12A4E}" srcOrd="1" destOrd="0" presId="urn:microsoft.com/office/officeart/2005/8/layout/list1"/>
    <dgm:cxn modelId="{3928C747-BB97-44D6-BD0C-446668B1F6F4}" type="presParOf" srcId="{8AB9D6F6-887F-46C7-A5D8-16293F4BC0CF}" destId="{633A0B12-50B2-4709-AE2B-A80E7FAFC829}" srcOrd="1" destOrd="0" presId="urn:microsoft.com/office/officeart/2005/8/layout/list1"/>
    <dgm:cxn modelId="{EF4EBA3F-761E-4201-91D2-F2EB68F0C8AC}" type="presParOf" srcId="{8AB9D6F6-887F-46C7-A5D8-16293F4BC0CF}" destId="{D064ED98-F720-4A01-BD69-B5EB9AF960BC}" srcOrd="2" destOrd="0" presId="urn:microsoft.com/office/officeart/2005/8/layout/list1"/>
    <dgm:cxn modelId="{0B563CCF-DED1-4067-817C-EC87D7F20552}" type="presParOf" srcId="{8AB9D6F6-887F-46C7-A5D8-16293F4BC0CF}" destId="{098A9E1A-3D6E-4EA0-A61B-48BCA958BCD9}" srcOrd="3" destOrd="0" presId="urn:microsoft.com/office/officeart/2005/8/layout/list1"/>
    <dgm:cxn modelId="{AE4E25BF-73D4-484F-B155-FD84B44B69D2}" type="presParOf" srcId="{8AB9D6F6-887F-46C7-A5D8-16293F4BC0CF}" destId="{3F57A69D-465B-4E17-921C-46195F091CA7}" srcOrd="4" destOrd="0" presId="urn:microsoft.com/office/officeart/2005/8/layout/list1"/>
    <dgm:cxn modelId="{3D161978-25FB-4568-8919-A4928915935F}" type="presParOf" srcId="{3F57A69D-465B-4E17-921C-46195F091CA7}" destId="{1F8FEF32-092F-406E-98A2-B36B16B45204}" srcOrd="0" destOrd="0" presId="urn:microsoft.com/office/officeart/2005/8/layout/list1"/>
    <dgm:cxn modelId="{9FB62E8E-379F-44FF-9635-C3B2F1E4C44A}" type="presParOf" srcId="{3F57A69D-465B-4E17-921C-46195F091CA7}" destId="{D7C29C1F-2090-4897-AB30-438AAA4900EA}" srcOrd="1" destOrd="0" presId="urn:microsoft.com/office/officeart/2005/8/layout/list1"/>
    <dgm:cxn modelId="{07E5F5E8-A910-46A1-AC3E-A29EAF4E1B0B}" type="presParOf" srcId="{8AB9D6F6-887F-46C7-A5D8-16293F4BC0CF}" destId="{B059022F-81A0-40B8-9C0E-18627B297047}" srcOrd="5" destOrd="0" presId="urn:microsoft.com/office/officeart/2005/8/layout/list1"/>
    <dgm:cxn modelId="{54A85B16-EA34-4073-A97E-8B171FED00B5}" type="presParOf" srcId="{8AB9D6F6-887F-46C7-A5D8-16293F4BC0CF}" destId="{F0380638-26A8-46C1-9F5A-14ABC816FB47}" srcOrd="6" destOrd="0" presId="urn:microsoft.com/office/officeart/2005/8/layout/list1"/>
    <dgm:cxn modelId="{C2191449-43D6-4D16-BF59-848BC426F178}" type="presParOf" srcId="{8AB9D6F6-887F-46C7-A5D8-16293F4BC0CF}" destId="{E361D812-E738-4A9E-9639-F883E70E1C72}" srcOrd="7" destOrd="0" presId="urn:microsoft.com/office/officeart/2005/8/layout/list1"/>
    <dgm:cxn modelId="{D3E12B35-DAEA-48F6-A505-02CD27D1F878}" type="presParOf" srcId="{8AB9D6F6-887F-46C7-A5D8-16293F4BC0CF}" destId="{AC5161D0-8A81-4B56-BD5B-6C7838193838}" srcOrd="8" destOrd="0" presId="urn:microsoft.com/office/officeart/2005/8/layout/list1"/>
    <dgm:cxn modelId="{37F3CFBE-05C4-4256-9D37-4B885F825DDE}" type="presParOf" srcId="{AC5161D0-8A81-4B56-BD5B-6C7838193838}" destId="{885B4BF4-55F7-4CA5-8916-1C21831DFCE4}" srcOrd="0" destOrd="0" presId="urn:microsoft.com/office/officeart/2005/8/layout/list1"/>
    <dgm:cxn modelId="{1A7A4F53-1D5D-47EA-AD66-08E859489C8E}" type="presParOf" srcId="{AC5161D0-8A81-4B56-BD5B-6C7838193838}" destId="{05199A73-453E-48D7-8C83-7ABD9FCC5229}" srcOrd="1" destOrd="0" presId="urn:microsoft.com/office/officeart/2005/8/layout/list1"/>
    <dgm:cxn modelId="{CDB2DD25-5893-44E4-B731-55B6F3571D82}" type="presParOf" srcId="{8AB9D6F6-887F-46C7-A5D8-16293F4BC0CF}" destId="{9B563934-E034-47DF-BA18-BC86E9297B18}" srcOrd="9" destOrd="0" presId="urn:microsoft.com/office/officeart/2005/8/layout/list1"/>
    <dgm:cxn modelId="{C997C2A6-4FFF-41D2-88C2-A3C396AAD426}" type="presParOf" srcId="{8AB9D6F6-887F-46C7-A5D8-16293F4BC0CF}" destId="{350A870C-9AA0-4860-A50C-81B1652B432D}" srcOrd="10" destOrd="0" presId="urn:microsoft.com/office/officeart/2005/8/layout/list1"/>
    <dgm:cxn modelId="{FB09BF0B-F2FA-4DF3-882E-4ECEA9DA7192}" type="presParOf" srcId="{8AB9D6F6-887F-46C7-A5D8-16293F4BC0CF}" destId="{F270C05F-1B9B-4973-BB78-C389D1D6631D}" srcOrd="11" destOrd="0" presId="urn:microsoft.com/office/officeart/2005/8/layout/list1"/>
    <dgm:cxn modelId="{5B511654-5E8B-43B9-A0A4-BCC313C4D2AA}" type="presParOf" srcId="{8AB9D6F6-887F-46C7-A5D8-16293F4BC0CF}" destId="{B85B6613-CD68-4106-8F52-347BF031336E}" srcOrd="12" destOrd="0" presId="urn:microsoft.com/office/officeart/2005/8/layout/list1"/>
    <dgm:cxn modelId="{8F36342A-0125-46BD-A209-483B5D14F6BF}" type="presParOf" srcId="{B85B6613-CD68-4106-8F52-347BF031336E}" destId="{C78F7198-775A-4E2C-95F0-A36C6AE18338}" srcOrd="0" destOrd="0" presId="urn:microsoft.com/office/officeart/2005/8/layout/list1"/>
    <dgm:cxn modelId="{3E8306D6-766F-406B-AE97-7B4D6EAA6C7E}" type="presParOf" srcId="{B85B6613-CD68-4106-8F52-347BF031336E}" destId="{59E0A752-A0F5-47D9-8CB1-38B4A7A9DADE}" srcOrd="1" destOrd="0" presId="urn:microsoft.com/office/officeart/2005/8/layout/list1"/>
    <dgm:cxn modelId="{7A71E3FE-9EC5-44C6-8E75-1F9D0F2BD503}" type="presParOf" srcId="{8AB9D6F6-887F-46C7-A5D8-16293F4BC0CF}" destId="{9D4FE6B7-DCA8-4FDC-A821-26ACBF5BBCCF}" srcOrd="13" destOrd="0" presId="urn:microsoft.com/office/officeart/2005/8/layout/list1"/>
    <dgm:cxn modelId="{773FB339-F1AE-4F31-AA3F-38AF7EFC0990}" type="presParOf" srcId="{8AB9D6F6-887F-46C7-A5D8-16293F4BC0CF}" destId="{90EC6758-910D-470E-B229-5C6F5C3E26D5}" srcOrd="14" destOrd="0" presId="urn:microsoft.com/office/officeart/2005/8/layout/list1"/>
    <dgm:cxn modelId="{07480138-9EF0-4AD8-BBC3-1D8A4D2593E0}" type="presParOf" srcId="{8AB9D6F6-887F-46C7-A5D8-16293F4BC0CF}" destId="{46E06398-0D5B-4AC3-A3EE-152F4DB85939}" srcOrd="15" destOrd="0" presId="urn:microsoft.com/office/officeart/2005/8/layout/list1"/>
    <dgm:cxn modelId="{6F256FD2-DA11-4055-BC90-6153C60ECF84}" type="presParOf" srcId="{8AB9D6F6-887F-46C7-A5D8-16293F4BC0CF}" destId="{ED3D7B2A-3712-4D67-9616-F73C2F83E255}" srcOrd="16" destOrd="0" presId="urn:microsoft.com/office/officeart/2005/8/layout/list1"/>
    <dgm:cxn modelId="{2A7011FC-542A-4594-A628-FA8E8E09E746}" type="presParOf" srcId="{ED3D7B2A-3712-4D67-9616-F73C2F83E255}" destId="{C9C333B9-EF00-48D4-A70A-26EBAC486C98}" srcOrd="0" destOrd="0" presId="urn:microsoft.com/office/officeart/2005/8/layout/list1"/>
    <dgm:cxn modelId="{AEE78A7D-9561-46FE-93A5-626B1A90F887}" type="presParOf" srcId="{ED3D7B2A-3712-4D67-9616-F73C2F83E255}" destId="{47D21CB3-D999-4BD1-B111-C88CF6F296F9}" srcOrd="1" destOrd="0" presId="urn:microsoft.com/office/officeart/2005/8/layout/list1"/>
    <dgm:cxn modelId="{7962C825-47D4-407D-BEA9-A36304DC6696}" type="presParOf" srcId="{8AB9D6F6-887F-46C7-A5D8-16293F4BC0CF}" destId="{8EA9374E-D502-4786-B8B9-CE84758992E7}" srcOrd="17" destOrd="0" presId="urn:microsoft.com/office/officeart/2005/8/layout/list1"/>
    <dgm:cxn modelId="{124561A7-F612-4A07-8ADE-2FD33E7EB9F3}" type="presParOf" srcId="{8AB9D6F6-887F-46C7-A5D8-16293F4BC0CF}" destId="{30F11050-CC2F-4167-802E-9351300C9D3E}" srcOrd="18" destOrd="0" presId="urn:microsoft.com/office/officeart/2005/8/layout/list1"/>
  </dgm:cxnLst>
  <dgm:bg/>
  <dgm:whole/>
  <dgm:extLst>
    <a:ext uri="http://schemas.microsoft.com/office/drawing/2008/diagram">
      <dsp:dataModelExt xmlns=""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064ED98-F720-4A01-BD69-B5EB9AF960BC}">
      <dsp:nvSpPr>
        <dsp:cNvPr id="0" name=""/>
        <dsp:cNvSpPr/>
      </dsp:nvSpPr>
      <dsp:spPr>
        <a:xfrm>
          <a:off x="0" y="394300"/>
          <a:ext cx="6834214" cy="52920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5EAC9EF-DB05-40B3-82FF-FA985BE12A4E}">
      <dsp:nvSpPr>
        <dsp:cNvPr id="0" name=""/>
        <dsp:cNvSpPr/>
      </dsp:nvSpPr>
      <dsp:spPr>
        <a:xfrm>
          <a:off x="341710" y="84340"/>
          <a:ext cx="4783949" cy="619920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80822" tIns="0" rIns="180822" bIns="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100" kern="1200" dirty="0" smtClean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rPr>
            <a:t>万得量化平台架构</a:t>
          </a:r>
          <a:endParaRPr lang="zh-CN" altLang="en-US" sz="2100" kern="1200" dirty="0">
            <a:solidFill>
              <a:srgbClr val="FF0000"/>
            </a:solidFill>
            <a:latin typeface="微软雅黑" pitchFamily="34" charset="-122"/>
            <a:ea typeface="微软雅黑" pitchFamily="34" charset="-122"/>
          </a:endParaRPr>
        </a:p>
      </dsp:txBody>
      <dsp:txXfrm>
        <a:off x="371972" y="114602"/>
        <a:ext cx="4723425" cy="559396"/>
      </dsp:txXfrm>
    </dsp:sp>
    <dsp:sp modelId="{F0380638-26A8-46C1-9F5A-14ABC816FB47}">
      <dsp:nvSpPr>
        <dsp:cNvPr id="0" name=""/>
        <dsp:cNvSpPr/>
      </dsp:nvSpPr>
      <dsp:spPr>
        <a:xfrm>
          <a:off x="0" y="1346860"/>
          <a:ext cx="6834214" cy="52920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7C29C1F-2090-4897-AB30-438AAA4900EA}">
      <dsp:nvSpPr>
        <dsp:cNvPr id="0" name=""/>
        <dsp:cNvSpPr/>
      </dsp:nvSpPr>
      <dsp:spPr>
        <a:xfrm>
          <a:off x="341710" y="1036900"/>
          <a:ext cx="4783949" cy="619920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80822" tIns="0" rIns="180822" bIns="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100" kern="1200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</a:rPr>
            <a:t>启用</a:t>
          </a:r>
          <a:r>
            <a:rPr lang="en-US" altLang="zh-CN" sz="2100" kern="1200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</a:rPr>
            <a:t>C#</a:t>
          </a:r>
          <a:r>
            <a:rPr lang="zh-CN" altLang="en-US" sz="2100" kern="1200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</a:rPr>
            <a:t>量化接口</a:t>
          </a:r>
          <a:endParaRPr lang="zh-CN" altLang="en-US" sz="2100" kern="1200" dirty="0">
            <a:solidFill>
              <a:schemeClr val="tx1"/>
            </a:solidFill>
            <a:latin typeface="微软雅黑" pitchFamily="34" charset="-122"/>
            <a:ea typeface="微软雅黑" pitchFamily="34" charset="-122"/>
          </a:endParaRPr>
        </a:p>
      </dsp:txBody>
      <dsp:txXfrm>
        <a:off x="371972" y="1067162"/>
        <a:ext cx="4723425" cy="559396"/>
      </dsp:txXfrm>
    </dsp:sp>
    <dsp:sp modelId="{350A870C-9AA0-4860-A50C-81B1652B432D}">
      <dsp:nvSpPr>
        <dsp:cNvPr id="0" name=""/>
        <dsp:cNvSpPr/>
      </dsp:nvSpPr>
      <dsp:spPr>
        <a:xfrm>
          <a:off x="0" y="2299421"/>
          <a:ext cx="6834214" cy="52920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5199A73-453E-48D7-8C83-7ABD9FCC5229}">
      <dsp:nvSpPr>
        <dsp:cNvPr id="0" name=""/>
        <dsp:cNvSpPr/>
      </dsp:nvSpPr>
      <dsp:spPr>
        <a:xfrm>
          <a:off x="341710" y="1989461"/>
          <a:ext cx="4783949" cy="619920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80822" tIns="0" rIns="180822" bIns="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100" kern="1200" dirty="0" smtClean="0">
              <a:latin typeface="微软雅黑" pitchFamily="34" charset="-122"/>
              <a:ea typeface="微软雅黑" pitchFamily="34" charset="-122"/>
            </a:rPr>
            <a:t>数据接口</a:t>
          </a:r>
          <a:endParaRPr lang="zh-CN" altLang="en-US" sz="2100" kern="1200" dirty="0">
            <a:latin typeface="微软雅黑" pitchFamily="34" charset="-122"/>
            <a:ea typeface="微软雅黑" pitchFamily="34" charset="-122"/>
          </a:endParaRPr>
        </a:p>
      </dsp:txBody>
      <dsp:txXfrm>
        <a:off x="371972" y="2019723"/>
        <a:ext cx="4723425" cy="559396"/>
      </dsp:txXfrm>
    </dsp:sp>
    <dsp:sp modelId="{90EC6758-910D-470E-B229-5C6F5C3E26D5}">
      <dsp:nvSpPr>
        <dsp:cNvPr id="0" name=""/>
        <dsp:cNvSpPr/>
      </dsp:nvSpPr>
      <dsp:spPr>
        <a:xfrm>
          <a:off x="0" y="3251981"/>
          <a:ext cx="6834214" cy="52920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9E0A752-A0F5-47D9-8CB1-38B4A7A9DADE}">
      <dsp:nvSpPr>
        <dsp:cNvPr id="0" name=""/>
        <dsp:cNvSpPr/>
      </dsp:nvSpPr>
      <dsp:spPr>
        <a:xfrm>
          <a:off x="341710" y="2942021"/>
          <a:ext cx="4783949" cy="619920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80822" tIns="0" rIns="180822" bIns="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100" kern="1200" dirty="0" smtClean="0">
              <a:latin typeface="微软雅黑" pitchFamily="34" charset="-122"/>
              <a:ea typeface="微软雅黑" pitchFamily="34" charset="-122"/>
            </a:rPr>
            <a:t>交易接口</a:t>
          </a:r>
          <a:endParaRPr lang="zh-CN" altLang="en-US" sz="2100" kern="1200" dirty="0">
            <a:latin typeface="微软雅黑" pitchFamily="34" charset="-122"/>
            <a:ea typeface="微软雅黑" pitchFamily="34" charset="-122"/>
          </a:endParaRPr>
        </a:p>
      </dsp:txBody>
      <dsp:txXfrm>
        <a:off x="371972" y="2972283"/>
        <a:ext cx="4723425" cy="559396"/>
      </dsp:txXfrm>
    </dsp:sp>
    <dsp:sp modelId="{30F11050-CC2F-4167-802E-9351300C9D3E}">
      <dsp:nvSpPr>
        <dsp:cNvPr id="0" name=""/>
        <dsp:cNvSpPr/>
      </dsp:nvSpPr>
      <dsp:spPr>
        <a:xfrm>
          <a:off x="0" y="4204541"/>
          <a:ext cx="6834214" cy="52920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7D21CB3-D999-4BD1-B111-C88CF6F296F9}">
      <dsp:nvSpPr>
        <dsp:cNvPr id="0" name=""/>
        <dsp:cNvSpPr/>
      </dsp:nvSpPr>
      <dsp:spPr>
        <a:xfrm>
          <a:off x="341710" y="3894581"/>
          <a:ext cx="4783949" cy="619920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80822" tIns="0" rIns="180822" bIns="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100" kern="1200" dirty="0" smtClean="0">
              <a:latin typeface="微软雅黑" pitchFamily="34" charset="-122"/>
              <a:ea typeface="微软雅黑" pitchFamily="34" charset="-122"/>
            </a:rPr>
            <a:t>进阶应用</a:t>
          </a:r>
          <a:endParaRPr lang="zh-CN" altLang="en-US" sz="2100" kern="1200" dirty="0">
            <a:latin typeface="微软雅黑" pitchFamily="34" charset="-122"/>
            <a:ea typeface="微软雅黑" pitchFamily="34" charset="-122"/>
          </a:endParaRPr>
        </a:p>
      </dsp:txBody>
      <dsp:txXfrm>
        <a:off x="371972" y="3924843"/>
        <a:ext cx="4723425" cy="55939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064ED98-F720-4A01-BD69-B5EB9AF960BC}">
      <dsp:nvSpPr>
        <dsp:cNvPr id="0" name=""/>
        <dsp:cNvSpPr/>
      </dsp:nvSpPr>
      <dsp:spPr>
        <a:xfrm>
          <a:off x="0" y="394300"/>
          <a:ext cx="6834214" cy="52920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5EAC9EF-DB05-40B3-82FF-FA985BE12A4E}">
      <dsp:nvSpPr>
        <dsp:cNvPr id="0" name=""/>
        <dsp:cNvSpPr/>
      </dsp:nvSpPr>
      <dsp:spPr>
        <a:xfrm>
          <a:off x="341710" y="84340"/>
          <a:ext cx="4783949" cy="619920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80822" tIns="0" rIns="180822" bIns="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100" kern="1200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</a:rPr>
            <a:t>万得量化平台架构</a:t>
          </a:r>
          <a:endParaRPr lang="zh-CN" altLang="en-US" sz="2100" kern="1200" dirty="0">
            <a:solidFill>
              <a:schemeClr val="tx1"/>
            </a:solidFill>
            <a:latin typeface="微软雅黑" pitchFamily="34" charset="-122"/>
            <a:ea typeface="微软雅黑" pitchFamily="34" charset="-122"/>
          </a:endParaRPr>
        </a:p>
      </dsp:txBody>
      <dsp:txXfrm>
        <a:off x="371972" y="114602"/>
        <a:ext cx="4723425" cy="559396"/>
      </dsp:txXfrm>
    </dsp:sp>
    <dsp:sp modelId="{F0380638-26A8-46C1-9F5A-14ABC816FB47}">
      <dsp:nvSpPr>
        <dsp:cNvPr id="0" name=""/>
        <dsp:cNvSpPr/>
      </dsp:nvSpPr>
      <dsp:spPr>
        <a:xfrm>
          <a:off x="0" y="1346860"/>
          <a:ext cx="6834214" cy="52920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7C29C1F-2090-4897-AB30-438AAA4900EA}">
      <dsp:nvSpPr>
        <dsp:cNvPr id="0" name=""/>
        <dsp:cNvSpPr/>
      </dsp:nvSpPr>
      <dsp:spPr>
        <a:xfrm>
          <a:off x="341710" y="1036900"/>
          <a:ext cx="4783949" cy="619920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80822" tIns="0" rIns="180822" bIns="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100" kern="1200" dirty="0" smtClean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rPr>
            <a:t>启用</a:t>
          </a:r>
          <a:r>
            <a:rPr lang="en-US" altLang="zh-CN" sz="2100" kern="1200" dirty="0" smtClean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rPr>
            <a:t>C#</a:t>
          </a:r>
          <a:r>
            <a:rPr lang="zh-CN" altLang="en-US" sz="2100" kern="1200" dirty="0" smtClean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rPr>
            <a:t>量化接口</a:t>
          </a:r>
          <a:endParaRPr lang="zh-CN" altLang="en-US" sz="2100" kern="1200" dirty="0">
            <a:solidFill>
              <a:srgbClr val="FF0000"/>
            </a:solidFill>
            <a:latin typeface="微软雅黑" pitchFamily="34" charset="-122"/>
            <a:ea typeface="微软雅黑" pitchFamily="34" charset="-122"/>
          </a:endParaRPr>
        </a:p>
      </dsp:txBody>
      <dsp:txXfrm>
        <a:off x="371972" y="1067162"/>
        <a:ext cx="4723425" cy="559396"/>
      </dsp:txXfrm>
    </dsp:sp>
    <dsp:sp modelId="{350A870C-9AA0-4860-A50C-81B1652B432D}">
      <dsp:nvSpPr>
        <dsp:cNvPr id="0" name=""/>
        <dsp:cNvSpPr/>
      </dsp:nvSpPr>
      <dsp:spPr>
        <a:xfrm>
          <a:off x="0" y="2299421"/>
          <a:ext cx="6834214" cy="52920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5199A73-453E-48D7-8C83-7ABD9FCC5229}">
      <dsp:nvSpPr>
        <dsp:cNvPr id="0" name=""/>
        <dsp:cNvSpPr/>
      </dsp:nvSpPr>
      <dsp:spPr>
        <a:xfrm>
          <a:off x="341710" y="1989461"/>
          <a:ext cx="4783949" cy="619920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80822" tIns="0" rIns="180822" bIns="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100" kern="1200" dirty="0" smtClean="0">
              <a:latin typeface="微软雅黑" pitchFamily="34" charset="-122"/>
              <a:ea typeface="微软雅黑" pitchFamily="34" charset="-122"/>
            </a:rPr>
            <a:t>数据接口</a:t>
          </a:r>
          <a:endParaRPr lang="zh-CN" altLang="en-US" sz="2100" kern="1200" dirty="0">
            <a:latin typeface="微软雅黑" pitchFamily="34" charset="-122"/>
            <a:ea typeface="微软雅黑" pitchFamily="34" charset="-122"/>
          </a:endParaRPr>
        </a:p>
      </dsp:txBody>
      <dsp:txXfrm>
        <a:off x="371972" y="2019723"/>
        <a:ext cx="4723425" cy="559396"/>
      </dsp:txXfrm>
    </dsp:sp>
    <dsp:sp modelId="{90EC6758-910D-470E-B229-5C6F5C3E26D5}">
      <dsp:nvSpPr>
        <dsp:cNvPr id="0" name=""/>
        <dsp:cNvSpPr/>
      </dsp:nvSpPr>
      <dsp:spPr>
        <a:xfrm>
          <a:off x="0" y="3251981"/>
          <a:ext cx="6834214" cy="52920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9E0A752-A0F5-47D9-8CB1-38B4A7A9DADE}">
      <dsp:nvSpPr>
        <dsp:cNvPr id="0" name=""/>
        <dsp:cNvSpPr/>
      </dsp:nvSpPr>
      <dsp:spPr>
        <a:xfrm>
          <a:off x="341710" y="2942021"/>
          <a:ext cx="4783949" cy="619920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80822" tIns="0" rIns="180822" bIns="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100" kern="1200" dirty="0" smtClean="0">
              <a:latin typeface="微软雅黑" pitchFamily="34" charset="-122"/>
              <a:ea typeface="微软雅黑" pitchFamily="34" charset="-122"/>
            </a:rPr>
            <a:t>交易接口</a:t>
          </a:r>
          <a:endParaRPr lang="zh-CN" altLang="en-US" sz="2100" kern="1200" dirty="0">
            <a:latin typeface="微软雅黑" pitchFamily="34" charset="-122"/>
            <a:ea typeface="微软雅黑" pitchFamily="34" charset="-122"/>
          </a:endParaRPr>
        </a:p>
      </dsp:txBody>
      <dsp:txXfrm>
        <a:off x="371972" y="2972283"/>
        <a:ext cx="4723425" cy="559396"/>
      </dsp:txXfrm>
    </dsp:sp>
    <dsp:sp modelId="{30F11050-CC2F-4167-802E-9351300C9D3E}">
      <dsp:nvSpPr>
        <dsp:cNvPr id="0" name=""/>
        <dsp:cNvSpPr/>
      </dsp:nvSpPr>
      <dsp:spPr>
        <a:xfrm>
          <a:off x="0" y="4204541"/>
          <a:ext cx="6834214" cy="52920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7D21CB3-D999-4BD1-B111-C88CF6F296F9}">
      <dsp:nvSpPr>
        <dsp:cNvPr id="0" name=""/>
        <dsp:cNvSpPr/>
      </dsp:nvSpPr>
      <dsp:spPr>
        <a:xfrm>
          <a:off x="341710" y="3894581"/>
          <a:ext cx="4783949" cy="619920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80822" tIns="0" rIns="180822" bIns="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100" kern="1200" dirty="0" smtClean="0">
              <a:latin typeface="微软雅黑" pitchFamily="34" charset="-122"/>
              <a:ea typeface="微软雅黑" pitchFamily="34" charset="-122"/>
            </a:rPr>
            <a:t>进阶应用</a:t>
          </a:r>
          <a:endParaRPr lang="zh-CN" altLang="en-US" sz="2100" kern="1200" dirty="0">
            <a:latin typeface="微软雅黑" pitchFamily="34" charset="-122"/>
            <a:ea typeface="微软雅黑" pitchFamily="34" charset="-122"/>
          </a:endParaRPr>
        </a:p>
      </dsp:txBody>
      <dsp:txXfrm>
        <a:off x="371972" y="3924843"/>
        <a:ext cx="4723425" cy="55939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064ED98-F720-4A01-BD69-B5EB9AF960BC}">
      <dsp:nvSpPr>
        <dsp:cNvPr id="0" name=""/>
        <dsp:cNvSpPr/>
      </dsp:nvSpPr>
      <dsp:spPr>
        <a:xfrm>
          <a:off x="0" y="394300"/>
          <a:ext cx="6834214" cy="52920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5EAC9EF-DB05-40B3-82FF-FA985BE12A4E}">
      <dsp:nvSpPr>
        <dsp:cNvPr id="0" name=""/>
        <dsp:cNvSpPr/>
      </dsp:nvSpPr>
      <dsp:spPr>
        <a:xfrm>
          <a:off x="341710" y="84340"/>
          <a:ext cx="4783949" cy="619920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80822" tIns="0" rIns="180822" bIns="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100" kern="1200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</a:rPr>
            <a:t>万得量化平台架构</a:t>
          </a:r>
          <a:endParaRPr lang="zh-CN" altLang="en-US" sz="2100" kern="1200" dirty="0">
            <a:solidFill>
              <a:schemeClr val="tx1"/>
            </a:solidFill>
            <a:latin typeface="微软雅黑" pitchFamily="34" charset="-122"/>
            <a:ea typeface="微软雅黑" pitchFamily="34" charset="-122"/>
          </a:endParaRPr>
        </a:p>
      </dsp:txBody>
      <dsp:txXfrm>
        <a:off x="371972" y="114602"/>
        <a:ext cx="4723425" cy="559396"/>
      </dsp:txXfrm>
    </dsp:sp>
    <dsp:sp modelId="{F0380638-26A8-46C1-9F5A-14ABC816FB47}">
      <dsp:nvSpPr>
        <dsp:cNvPr id="0" name=""/>
        <dsp:cNvSpPr/>
      </dsp:nvSpPr>
      <dsp:spPr>
        <a:xfrm>
          <a:off x="0" y="1346860"/>
          <a:ext cx="6834214" cy="52920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7C29C1F-2090-4897-AB30-438AAA4900EA}">
      <dsp:nvSpPr>
        <dsp:cNvPr id="0" name=""/>
        <dsp:cNvSpPr/>
      </dsp:nvSpPr>
      <dsp:spPr>
        <a:xfrm>
          <a:off x="341710" y="1036900"/>
          <a:ext cx="4783949" cy="619920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80822" tIns="0" rIns="180822" bIns="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100" kern="1200" dirty="0" smtClean="0">
              <a:latin typeface="微软雅黑" pitchFamily="34" charset="-122"/>
              <a:ea typeface="微软雅黑" pitchFamily="34" charset="-122"/>
            </a:rPr>
            <a:t>启用</a:t>
          </a:r>
          <a:r>
            <a:rPr lang="en-US" altLang="zh-CN" sz="2100" kern="1200" dirty="0" smtClean="0">
              <a:latin typeface="微软雅黑" pitchFamily="34" charset="-122"/>
              <a:ea typeface="微软雅黑" pitchFamily="34" charset="-122"/>
            </a:rPr>
            <a:t>C#</a:t>
          </a:r>
          <a:r>
            <a:rPr lang="zh-CN" altLang="en-US" sz="2100" kern="1200" dirty="0" smtClean="0">
              <a:latin typeface="微软雅黑" pitchFamily="34" charset="-122"/>
              <a:ea typeface="微软雅黑" pitchFamily="34" charset="-122"/>
            </a:rPr>
            <a:t>量化接口</a:t>
          </a:r>
          <a:endParaRPr lang="zh-CN" altLang="en-US" sz="2100" kern="1200" dirty="0">
            <a:latin typeface="微软雅黑" pitchFamily="34" charset="-122"/>
            <a:ea typeface="微软雅黑" pitchFamily="34" charset="-122"/>
          </a:endParaRPr>
        </a:p>
      </dsp:txBody>
      <dsp:txXfrm>
        <a:off x="371972" y="1067162"/>
        <a:ext cx="4723425" cy="559396"/>
      </dsp:txXfrm>
    </dsp:sp>
    <dsp:sp modelId="{350A870C-9AA0-4860-A50C-81B1652B432D}">
      <dsp:nvSpPr>
        <dsp:cNvPr id="0" name=""/>
        <dsp:cNvSpPr/>
      </dsp:nvSpPr>
      <dsp:spPr>
        <a:xfrm>
          <a:off x="0" y="2299421"/>
          <a:ext cx="6834214" cy="52920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5199A73-453E-48D7-8C83-7ABD9FCC5229}">
      <dsp:nvSpPr>
        <dsp:cNvPr id="0" name=""/>
        <dsp:cNvSpPr/>
      </dsp:nvSpPr>
      <dsp:spPr>
        <a:xfrm>
          <a:off x="341710" y="1989461"/>
          <a:ext cx="4783949" cy="619920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80822" tIns="0" rIns="180822" bIns="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100" kern="1200" dirty="0" smtClean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rPr>
            <a:t>数据接口</a:t>
          </a:r>
          <a:endParaRPr lang="zh-CN" altLang="en-US" sz="2100" kern="1200" dirty="0">
            <a:solidFill>
              <a:srgbClr val="FF0000"/>
            </a:solidFill>
            <a:latin typeface="微软雅黑" pitchFamily="34" charset="-122"/>
            <a:ea typeface="微软雅黑" pitchFamily="34" charset="-122"/>
          </a:endParaRPr>
        </a:p>
      </dsp:txBody>
      <dsp:txXfrm>
        <a:off x="371972" y="2019723"/>
        <a:ext cx="4723425" cy="559396"/>
      </dsp:txXfrm>
    </dsp:sp>
    <dsp:sp modelId="{90EC6758-910D-470E-B229-5C6F5C3E26D5}">
      <dsp:nvSpPr>
        <dsp:cNvPr id="0" name=""/>
        <dsp:cNvSpPr/>
      </dsp:nvSpPr>
      <dsp:spPr>
        <a:xfrm>
          <a:off x="0" y="3251981"/>
          <a:ext cx="6834214" cy="52920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9E0A752-A0F5-47D9-8CB1-38B4A7A9DADE}">
      <dsp:nvSpPr>
        <dsp:cNvPr id="0" name=""/>
        <dsp:cNvSpPr/>
      </dsp:nvSpPr>
      <dsp:spPr>
        <a:xfrm>
          <a:off x="341710" y="2942021"/>
          <a:ext cx="4783949" cy="619920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80822" tIns="0" rIns="180822" bIns="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100" kern="1200" dirty="0" smtClean="0">
              <a:latin typeface="微软雅黑" pitchFamily="34" charset="-122"/>
              <a:ea typeface="微软雅黑" pitchFamily="34" charset="-122"/>
            </a:rPr>
            <a:t>交易接口</a:t>
          </a:r>
          <a:endParaRPr lang="zh-CN" altLang="en-US" sz="2100" kern="1200" dirty="0">
            <a:latin typeface="微软雅黑" pitchFamily="34" charset="-122"/>
            <a:ea typeface="微软雅黑" pitchFamily="34" charset="-122"/>
          </a:endParaRPr>
        </a:p>
      </dsp:txBody>
      <dsp:txXfrm>
        <a:off x="371972" y="2972283"/>
        <a:ext cx="4723425" cy="559396"/>
      </dsp:txXfrm>
    </dsp:sp>
    <dsp:sp modelId="{30F11050-CC2F-4167-802E-9351300C9D3E}">
      <dsp:nvSpPr>
        <dsp:cNvPr id="0" name=""/>
        <dsp:cNvSpPr/>
      </dsp:nvSpPr>
      <dsp:spPr>
        <a:xfrm>
          <a:off x="0" y="4204541"/>
          <a:ext cx="6834214" cy="52920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7D21CB3-D999-4BD1-B111-C88CF6F296F9}">
      <dsp:nvSpPr>
        <dsp:cNvPr id="0" name=""/>
        <dsp:cNvSpPr/>
      </dsp:nvSpPr>
      <dsp:spPr>
        <a:xfrm>
          <a:off x="341710" y="3894581"/>
          <a:ext cx="4783949" cy="619920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80822" tIns="0" rIns="180822" bIns="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100" kern="1200" dirty="0" smtClean="0">
              <a:latin typeface="微软雅黑" pitchFamily="34" charset="-122"/>
              <a:ea typeface="微软雅黑" pitchFamily="34" charset="-122"/>
            </a:rPr>
            <a:t>进阶应用</a:t>
          </a:r>
          <a:endParaRPr lang="zh-CN" altLang="en-US" sz="2100" kern="1200" dirty="0">
            <a:latin typeface="微软雅黑" pitchFamily="34" charset="-122"/>
            <a:ea typeface="微软雅黑" pitchFamily="34" charset="-122"/>
          </a:endParaRPr>
        </a:p>
      </dsp:txBody>
      <dsp:txXfrm>
        <a:off x="371972" y="3924843"/>
        <a:ext cx="4723425" cy="559396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ADB4057-BA9A-41B9-AFFF-542B529E6D77}">
      <dsp:nvSpPr>
        <dsp:cNvPr id="0" name=""/>
        <dsp:cNvSpPr/>
      </dsp:nvSpPr>
      <dsp:spPr>
        <a:xfrm>
          <a:off x="3109349" y="507859"/>
          <a:ext cx="1920838" cy="72824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900" kern="1200" dirty="0" smtClean="0">
              <a:latin typeface="微软雅黑" pitchFamily="34" charset="-122"/>
              <a:ea typeface="微软雅黑" pitchFamily="34" charset="-122"/>
            </a:rPr>
            <a:t>命令生成器</a:t>
          </a:r>
          <a:endParaRPr lang="zh-CN" altLang="en-US" sz="1900" kern="1200" dirty="0">
            <a:latin typeface="微软雅黑" pitchFamily="34" charset="-122"/>
            <a:ea typeface="微软雅黑" pitchFamily="34" charset="-122"/>
          </a:endParaRPr>
        </a:p>
      </dsp:txBody>
      <dsp:txXfrm>
        <a:off x="3130679" y="529189"/>
        <a:ext cx="1878178" cy="685583"/>
      </dsp:txXfrm>
    </dsp:sp>
    <dsp:sp modelId="{8F09049F-1086-49B4-886C-DDF4B5F63948}">
      <dsp:nvSpPr>
        <dsp:cNvPr id="0" name=""/>
        <dsp:cNvSpPr/>
      </dsp:nvSpPr>
      <dsp:spPr>
        <a:xfrm>
          <a:off x="826474" y="1236103"/>
          <a:ext cx="3243294" cy="736135"/>
        </a:xfrm>
        <a:custGeom>
          <a:avLst/>
          <a:gdLst/>
          <a:ahLst/>
          <a:cxnLst/>
          <a:rect l="0" t="0" r="0" b="0"/>
          <a:pathLst>
            <a:path>
              <a:moveTo>
                <a:pt x="3243294" y="0"/>
              </a:moveTo>
              <a:lnTo>
                <a:pt x="3243294" y="368067"/>
              </a:lnTo>
              <a:lnTo>
                <a:pt x="0" y="368067"/>
              </a:lnTo>
              <a:lnTo>
                <a:pt x="0" y="736135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1B66269-5430-42C6-BC0A-152473B23B36}">
      <dsp:nvSpPr>
        <dsp:cNvPr id="0" name=""/>
        <dsp:cNvSpPr/>
      </dsp:nvSpPr>
      <dsp:spPr>
        <a:xfrm>
          <a:off x="4430" y="1972239"/>
          <a:ext cx="1644088" cy="75058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900" kern="1200" dirty="0" smtClean="0">
              <a:latin typeface="微软雅黑" pitchFamily="34" charset="-122"/>
              <a:ea typeface="微软雅黑" pitchFamily="34" charset="-122"/>
            </a:rPr>
            <a:t>快速查找指标</a:t>
          </a:r>
          <a:endParaRPr lang="zh-CN" altLang="en-US" sz="1900" kern="1200" dirty="0">
            <a:latin typeface="微软雅黑" pitchFamily="34" charset="-122"/>
            <a:ea typeface="微软雅黑" pitchFamily="34" charset="-122"/>
          </a:endParaRPr>
        </a:p>
      </dsp:txBody>
      <dsp:txXfrm>
        <a:off x="26414" y="1994223"/>
        <a:ext cx="1600120" cy="706613"/>
      </dsp:txXfrm>
    </dsp:sp>
    <dsp:sp modelId="{94B6210A-C761-4D32-9183-0941717B53BD}">
      <dsp:nvSpPr>
        <dsp:cNvPr id="0" name=""/>
        <dsp:cNvSpPr/>
      </dsp:nvSpPr>
      <dsp:spPr>
        <a:xfrm>
          <a:off x="2963790" y="1236103"/>
          <a:ext cx="1105978" cy="736135"/>
        </a:xfrm>
        <a:custGeom>
          <a:avLst/>
          <a:gdLst/>
          <a:ahLst/>
          <a:cxnLst/>
          <a:rect l="0" t="0" r="0" b="0"/>
          <a:pathLst>
            <a:path>
              <a:moveTo>
                <a:pt x="1105978" y="0"/>
              </a:moveTo>
              <a:lnTo>
                <a:pt x="1105978" y="368067"/>
              </a:lnTo>
              <a:lnTo>
                <a:pt x="0" y="368067"/>
              </a:lnTo>
              <a:lnTo>
                <a:pt x="0" y="736135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AAACB72-85B1-4EFC-A886-B187021226DE}">
      <dsp:nvSpPr>
        <dsp:cNvPr id="0" name=""/>
        <dsp:cNvSpPr/>
      </dsp:nvSpPr>
      <dsp:spPr>
        <a:xfrm>
          <a:off x="2141745" y="1972239"/>
          <a:ext cx="1644088" cy="75058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900" kern="1200" dirty="0" smtClean="0">
              <a:latin typeface="微软雅黑" pitchFamily="34" charset="-122"/>
              <a:ea typeface="微软雅黑" pitchFamily="34" charset="-122"/>
            </a:rPr>
            <a:t>生成正确代码</a:t>
          </a:r>
          <a:endParaRPr lang="zh-CN" altLang="en-US" sz="1900" kern="1200" dirty="0">
            <a:latin typeface="微软雅黑" pitchFamily="34" charset="-122"/>
            <a:ea typeface="微软雅黑" pitchFamily="34" charset="-122"/>
          </a:endParaRPr>
        </a:p>
      </dsp:txBody>
      <dsp:txXfrm>
        <a:off x="2163729" y="1994223"/>
        <a:ext cx="1600120" cy="706613"/>
      </dsp:txXfrm>
    </dsp:sp>
    <dsp:sp modelId="{46F286BD-2C88-4487-8930-D96805615793}">
      <dsp:nvSpPr>
        <dsp:cNvPr id="0" name=""/>
        <dsp:cNvSpPr/>
      </dsp:nvSpPr>
      <dsp:spPr>
        <a:xfrm>
          <a:off x="4069768" y="1236103"/>
          <a:ext cx="1031336" cy="73613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68067"/>
              </a:lnTo>
              <a:lnTo>
                <a:pt x="1031336" y="368067"/>
              </a:lnTo>
              <a:lnTo>
                <a:pt x="1031336" y="736135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28A3938-6317-41BC-98FD-092AC48B5B71}">
      <dsp:nvSpPr>
        <dsp:cNvPr id="0" name=""/>
        <dsp:cNvSpPr/>
      </dsp:nvSpPr>
      <dsp:spPr>
        <a:xfrm>
          <a:off x="4279061" y="1972239"/>
          <a:ext cx="1644088" cy="75058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900" kern="1200" dirty="0" smtClean="0">
              <a:latin typeface="微软雅黑" pitchFamily="34" charset="-122"/>
              <a:ea typeface="微软雅黑" pitchFamily="34" charset="-122"/>
            </a:rPr>
            <a:t>支持多种语言</a:t>
          </a:r>
          <a:endParaRPr lang="zh-CN" altLang="en-US" sz="1900" kern="1200" dirty="0">
            <a:latin typeface="微软雅黑" pitchFamily="34" charset="-122"/>
            <a:ea typeface="微软雅黑" pitchFamily="34" charset="-122"/>
          </a:endParaRPr>
        </a:p>
      </dsp:txBody>
      <dsp:txXfrm>
        <a:off x="4301045" y="1994223"/>
        <a:ext cx="1600120" cy="706613"/>
      </dsp:txXfrm>
    </dsp:sp>
    <dsp:sp modelId="{DCEE6FD4-F24E-45DA-8D39-AC464543AE0E}">
      <dsp:nvSpPr>
        <dsp:cNvPr id="0" name=""/>
        <dsp:cNvSpPr/>
      </dsp:nvSpPr>
      <dsp:spPr>
        <a:xfrm>
          <a:off x="4069768" y="1236103"/>
          <a:ext cx="3168652" cy="73613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68067"/>
              </a:lnTo>
              <a:lnTo>
                <a:pt x="3168652" y="368067"/>
              </a:lnTo>
              <a:lnTo>
                <a:pt x="3168652" y="736135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4F34EA5-0BB7-4EB3-A9C4-763D5177968D}">
      <dsp:nvSpPr>
        <dsp:cNvPr id="0" name=""/>
        <dsp:cNvSpPr/>
      </dsp:nvSpPr>
      <dsp:spPr>
        <a:xfrm>
          <a:off x="6416376" y="1972239"/>
          <a:ext cx="1644088" cy="75058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900" kern="1200" dirty="0" smtClean="0">
              <a:latin typeface="微软雅黑" pitchFamily="34" charset="-122"/>
              <a:ea typeface="微软雅黑" pitchFamily="34" charset="-122"/>
            </a:rPr>
            <a:t>快速查看结果</a:t>
          </a:r>
          <a:endParaRPr lang="zh-CN" altLang="en-US" sz="1900" kern="1200" dirty="0">
            <a:latin typeface="微软雅黑" pitchFamily="34" charset="-122"/>
            <a:ea typeface="微软雅黑" pitchFamily="34" charset="-122"/>
          </a:endParaRPr>
        </a:p>
      </dsp:txBody>
      <dsp:txXfrm>
        <a:off x="6438360" y="1994223"/>
        <a:ext cx="1600120" cy="706613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064ED98-F720-4A01-BD69-B5EB9AF960BC}">
      <dsp:nvSpPr>
        <dsp:cNvPr id="0" name=""/>
        <dsp:cNvSpPr/>
      </dsp:nvSpPr>
      <dsp:spPr>
        <a:xfrm>
          <a:off x="0" y="394300"/>
          <a:ext cx="6834214" cy="52920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5EAC9EF-DB05-40B3-82FF-FA985BE12A4E}">
      <dsp:nvSpPr>
        <dsp:cNvPr id="0" name=""/>
        <dsp:cNvSpPr/>
      </dsp:nvSpPr>
      <dsp:spPr>
        <a:xfrm>
          <a:off x="341710" y="84340"/>
          <a:ext cx="4783949" cy="619920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80822" tIns="0" rIns="180822" bIns="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100" kern="1200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</a:rPr>
            <a:t>万得量化平台架构</a:t>
          </a:r>
          <a:endParaRPr lang="zh-CN" altLang="en-US" sz="2100" kern="1200" dirty="0">
            <a:solidFill>
              <a:schemeClr val="tx1"/>
            </a:solidFill>
            <a:latin typeface="微软雅黑" pitchFamily="34" charset="-122"/>
            <a:ea typeface="微软雅黑" pitchFamily="34" charset="-122"/>
          </a:endParaRPr>
        </a:p>
      </dsp:txBody>
      <dsp:txXfrm>
        <a:off x="371972" y="114602"/>
        <a:ext cx="4723425" cy="559396"/>
      </dsp:txXfrm>
    </dsp:sp>
    <dsp:sp modelId="{F0380638-26A8-46C1-9F5A-14ABC816FB47}">
      <dsp:nvSpPr>
        <dsp:cNvPr id="0" name=""/>
        <dsp:cNvSpPr/>
      </dsp:nvSpPr>
      <dsp:spPr>
        <a:xfrm>
          <a:off x="0" y="1346860"/>
          <a:ext cx="6834214" cy="52920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7C29C1F-2090-4897-AB30-438AAA4900EA}">
      <dsp:nvSpPr>
        <dsp:cNvPr id="0" name=""/>
        <dsp:cNvSpPr/>
      </dsp:nvSpPr>
      <dsp:spPr>
        <a:xfrm>
          <a:off x="341710" y="1036900"/>
          <a:ext cx="4783949" cy="619920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80822" tIns="0" rIns="180822" bIns="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100" kern="1200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</a:rPr>
            <a:t>启用</a:t>
          </a:r>
          <a:r>
            <a:rPr lang="en-US" altLang="zh-CN" sz="2100" kern="1200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</a:rPr>
            <a:t>C#</a:t>
          </a:r>
          <a:r>
            <a:rPr lang="zh-CN" altLang="en-US" sz="2100" kern="1200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</a:rPr>
            <a:t>量化接口</a:t>
          </a:r>
          <a:endParaRPr lang="zh-CN" altLang="en-US" sz="2100" kern="1200" dirty="0">
            <a:solidFill>
              <a:schemeClr val="tx1"/>
            </a:solidFill>
            <a:latin typeface="微软雅黑" pitchFamily="34" charset="-122"/>
            <a:ea typeface="微软雅黑" pitchFamily="34" charset="-122"/>
          </a:endParaRPr>
        </a:p>
      </dsp:txBody>
      <dsp:txXfrm>
        <a:off x="371972" y="1067162"/>
        <a:ext cx="4723425" cy="559396"/>
      </dsp:txXfrm>
    </dsp:sp>
    <dsp:sp modelId="{350A870C-9AA0-4860-A50C-81B1652B432D}">
      <dsp:nvSpPr>
        <dsp:cNvPr id="0" name=""/>
        <dsp:cNvSpPr/>
      </dsp:nvSpPr>
      <dsp:spPr>
        <a:xfrm>
          <a:off x="0" y="2299421"/>
          <a:ext cx="6834214" cy="52920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5199A73-453E-48D7-8C83-7ABD9FCC5229}">
      <dsp:nvSpPr>
        <dsp:cNvPr id="0" name=""/>
        <dsp:cNvSpPr/>
      </dsp:nvSpPr>
      <dsp:spPr>
        <a:xfrm>
          <a:off x="341710" y="1989461"/>
          <a:ext cx="4783949" cy="619920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80822" tIns="0" rIns="180822" bIns="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100" kern="1200" dirty="0" smtClean="0">
              <a:latin typeface="微软雅黑" pitchFamily="34" charset="-122"/>
              <a:ea typeface="微软雅黑" pitchFamily="34" charset="-122"/>
            </a:rPr>
            <a:t>数据接口</a:t>
          </a:r>
          <a:endParaRPr lang="zh-CN" altLang="en-US" sz="2100" kern="1200" dirty="0">
            <a:latin typeface="微软雅黑" pitchFamily="34" charset="-122"/>
            <a:ea typeface="微软雅黑" pitchFamily="34" charset="-122"/>
          </a:endParaRPr>
        </a:p>
      </dsp:txBody>
      <dsp:txXfrm>
        <a:off x="371972" y="2019723"/>
        <a:ext cx="4723425" cy="559396"/>
      </dsp:txXfrm>
    </dsp:sp>
    <dsp:sp modelId="{90EC6758-910D-470E-B229-5C6F5C3E26D5}">
      <dsp:nvSpPr>
        <dsp:cNvPr id="0" name=""/>
        <dsp:cNvSpPr/>
      </dsp:nvSpPr>
      <dsp:spPr>
        <a:xfrm>
          <a:off x="0" y="3251981"/>
          <a:ext cx="6834214" cy="52920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9E0A752-A0F5-47D9-8CB1-38B4A7A9DADE}">
      <dsp:nvSpPr>
        <dsp:cNvPr id="0" name=""/>
        <dsp:cNvSpPr/>
      </dsp:nvSpPr>
      <dsp:spPr>
        <a:xfrm>
          <a:off x="341710" y="2942021"/>
          <a:ext cx="4783949" cy="619920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80822" tIns="0" rIns="180822" bIns="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100" kern="1200" dirty="0" smtClean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rPr>
            <a:t>交易接口</a:t>
          </a:r>
          <a:endParaRPr lang="zh-CN" altLang="en-US" sz="2100" kern="1200" dirty="0">
            <a:solidFill>
              <a:srgbClr val="FF0000"/>
            </a:solidFill>
            <a:latin typeface="微软雅黑" pitchFamily="34" charset="-122"/>
            <a:ea typeface="微软雅黑" pitchFamily="34" charset="-122"/>
          </a:endParaRPr>
        </a:p>
      </dsp:txBody>
      <dsp:txXfrm>
        <a:off x="371972" y="2972283"/>
        <a:ext cx="4723425" cy="559396"/>
      </dsp:txXfrm>
    </dsp:sp>
    <dsp:sp modelId="{30F11050-CC2F-4167-802E-9351300C9D3E}">
      <dsp:nvSpPr>
        <dsp:cNvPr id="0" name=""/>
        <dsp:cNvSpPr/>
      </dsp:nvSpPr>
      <dsp:spPr>
        <a:xfrm>
          <a:off x="0" y="4204541"/>
          <a:ext cx="6834214" cy="52920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7D21CB3-D999-4BD1-B111-C88CF6F296F9}">
      <dsp:nvSpPr>
        <dsp:cNvPr id="0" name=""/>
        <dsp:cNvSpPr/>
      </dsp:nvSpPr>
      <dsp:spPr>
        <a:xfrm>
          <a:off x="341710" y="3894581"/>
          <a:ext cx="4783949" cy="619920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80822" tIns="0" rIns="180822" bIns="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100" kern="1200" dirty="0" smtClean="0">
              <a:latin typeface="微软雅黑" pitchFamily="34" charset="-122"/>
              <a:ea typeface="微软雅黑" pitchFamily="34" charset="-122"/>
            </a:rPr>
            <a:t>进阶应用</a:t>
          </a:r>
          <a:endParaRPr lang="zh-CN" altLang="en-US" sz="2100" kern="1200" dirty="0">
            <a:latin typeface="微软雅黑" pitchFamily="34" charset="-122"/>
            <a:ea typeface="微软雅黑" pitchFamily="34" charset="-122"/>
          </a:endParaRPr>
        </a:p>
      </dsp:txBody>
      <dsp:txXfrm>
        <a:off x="371972" y="3924843"/>
        <a:ext cx="4723425" cy="559396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064ED98-F720-4A01-BD69-B5EB9AF960BC}">
      <dsp:nvSpPr>
        <dsp:cNvPr id="0" name=""/>
        <dsp:cNvSpPr/>
      </dsp:nvSpPr>
      <dsp:spPr>
        <a:xfrm>
          <a:off x="0" y="394300"/>
          <a:ext cx="6834214" cy="52920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5EAC9EF-DB05-40B3-82FF-FA985BE12A4E}">
      <dsp:nvSpPr>
        <dsp:cNvPr id="0" name=""/>
        <dsp:cNvSpPr/>
      </dsp:nvSpPr>
      <dsp:spPr>
        <a:xfrm>
          <a:off x="341710" y="84340"/>
          <a:ext cx="4783949" cy="619920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80822" tIns="0" rIns="180822" bIns="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100" kern="1200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</a:rPr>
            <a:t>万得量化平台架构</a:t>
          </a:r>
          <a:endParaRPr lang="zh-CN" altLang="en-US" sz="2100" kern="1200" dirty="0">
            <a:solidFill>
              <a:schemeClr val="tx1"/>
            </a:solidFill>
            <a:latin typeface="微软雅黑" pitchFamily="34" charset="-122"/>
            <a:ea typeface="微软雅黑" pitchFamily="34" charset="-122"/>
          </a:endParaRPr>
        </a:p>
      </dsp:txBody>
      <dsp:txXfrm>
        <a:off x="371972" y="114602"/>
        <a:ext cx="4723425" cy="559396"/>
      </dsp:txXfrm>
    </dsp:sp>
    <dsp:sp modelId="{F0380638-26A8-46C1-9F5A-14ABC816FB47}">
      <dsp:nvSpPr>
        <dsp:cNvPr id="0" name=""/>
        <dsp:cNvSpPr/>
      </dsp:nvSpPr>
      <dsp:spPr>
        <a:xfrm>
          <a:off x="0" y="1346860"/>
          <a:ext cx="6834214" cy="52920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7C29C1F-2090-4897-AB30-438AAA4900EA}">
      <dsp:nvSpPr>
        <dsp:cNvPr id="0" name=""/>
        <dsp:cNvSpPr/>
      </dsp:nvSpPr>
      <dsp:spPr>
        <a:xfrm>
          <a:off x="341710" y="1036900"/>
          <a:ext cx="4783949" cy="619920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80822" tIns="0" rIns="180822" bIns="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100" kern="1200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</a:rPr>
            <a:t>启用</a:t>
          </a:r>
          <a:r>
            <a:rPr lang="en-US" altLang="zh-CN" sz="2100" kern="1200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</a:rPr>
            <a:t>C#</a:t>
          </a:r>
          <a:r>
            <a:rPr lang="zh-CN" altLang="en-US" sz="2100" kern="1200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</a:rPr>
            <a:t>量化接口</a:t>
          </a:r>
          <a:endParaRPr lang="zh-CN" altLang="en-US" sz="2100" kern="1200" dirty="0">
            <a:solidFill>
              <a:schemeClr val="tx1"/>
            </a:solidFill>
            <a:latin typeface="微软雅黑" pitchFamily="34" charset="-122"/>
            <a:ea typeface="微软雅黑" pitchFamily="34" charset="-122"/>
          </a:endParaRPr>
        </a:p>
      </dsp:txBody>
      <dsp:txXfrm>
        <a:off x="371972" y="1067162"/>
        <a:ext cx="4723425" cy="559396"/>
      </dsp:txXfrm>
    </dsp:sp>
    <dsp:sp modelId="{350A870C-9AA0-4860-A50C-81B1652B432D}">
      <dsp:nvSpPr>
        <dsp:cNvPr id="0" name=""/>
        <dsp:cNvSpPr/>
      </dsp:nvSpPr>
      <dsp:spPr>
        <a:xfrm>
          <a:off x="0" y="2299421"/>
          <a:ext cx="6834214" cy="52920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5199A73-453E-48D7-8C83-7ABD9FCC5229}">
      <dsp:nvSpPr>
        <dsp:cNvPr id="0" name=""/>
        <dsp:cNvSpPr/>
      </dsp:nvSpPr>
      <dsp:spPr>
        <a:xfrm>
          <a:off x="341710" y="1989461"/>
          <a:ext cx="4783949" cy="619920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80822" tIns="0" rIns="180822" bIns="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100" kern="1200" dirty="0" smtClean="0">
              <a:latin typeface="微软雅黑" pitchFamily="34" charset="-122"/>
              <a:ea typeface="微软雅黑" pitchFamily="34" charset="-122"/>
            </a:rPr>
            <a:t>数据接口</a:t>
          </a:r>
          <a:endParaRPr lang="zh-CN" altLang="en-US" sz="2100" kern="1200" dirty="0">
            <a:latin typeface="微软雅黑" pitchFamily="34" charset="-122"/>
            <a:ea typeface="微软雅黑" pitchFamily="34" charset="-122"/>
          </a:endParaRPr>
        </a:p>
      </dsp:txBody>
      <dsp:txXfrm>
        <a:off x="371972" y="2019723"/>
        <a:ext cx="4723425" cy="559396"/>
      </dsp:txXfrm>
    </dsp:sp>
    <dsp:sp modelId="{90EC6758-910D-470E-B229-5C6F5C3E26D5}">
      <dsp:nvSpPr>
        <dsp:cNvPr id="0" name=""/>
        <dsp:cNvSpPr/>
      </dsp:nvSpPr>
      <dsp:spPr>
        <a:xfrm>
          <a:off x="0" y="3251981"/>
          <a:ext cx="6834214" cy="52920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9E0A752-A0F5-47D9-8CB1-38B4A7A9DADE}">
      <dsp:nvSpPr>
        <dsp:cNvPr id="0" name=""/>
        <dsp:cNvSpPr/>
      </dsp:nvSpPr>
      <dsp:spPr>
        <a:xfrm>
          <a:off x="341710" y="2942021"/>
          <a:ext cx="4783949" cy="619920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80822" tIns="0" rIns="180822" bIns="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100" kern="1200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</a:rPr>
            <a:t>交易接口</a:t>
          </a:r>
          <a:endParaRPr lang="zh-CN" altLang="en-US" sz="2100" kern="1200" dirty="0">
            <a:solidFill>
              <a:schemeClr val="tx1"/>
            </a:solidFill>
            <a:latin typeface="微软雅黑" pitchFamily="34" charset="-122"/>
            <a:ea typeface="微软雅黑" pitchFamily="34" charset="-122"/>
          </a:endParaRPr>
        </a:p>
      </dsp:txBody>
      <dsp:txXfrm>
        <a:off x="371972" y="2972283"/>
        <a:ext cx="4723425" cy="559396"/>
      </dsp:txXfrm>
    </dsp:sp>
    <dsp:sp modelId="{30F11050-CC2F-4167-802E-9351300C9D3E}">
      <dsp:nvSpPr>
        <dsp:cNvPr id="0" name=""/>
        <dsp:cNvSpPr/>
      </dsp:nvSpPr>
      <dsp:spPr>
        <a:xfrm>
          <a:off x="0" y="4204541"/>
          <a:ext cx="6834214" cy="52920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7D21CB3-D999-4BD1-B111-C88CF6F296F9}">
      <dsp:nvSpPr>
        <dsp:cNvPr id="0" name=""/>
        <dsp:cNvSpPr/>
      </dsp:nvSpPr>
      <dsp:spPr>
        <a:xfrm>
          <a:off x="341710" y="3894581"/>
          <a:ext cx="4783949" cy="619920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80822" tIns="0" rIns="180822" bIns="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100" kern="1200" dirty="0" smtClean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rPr>
            <a:t>进阶应用</a:t>
          </a:r>
          <a:endParaRPr lang="zh-CN" altLang="en-US" sz="2100" kern="1200" dirty="0">
            <a:solidFill>
              <a:srgbClr val="FF0000"/>
            </a:solidFill>
            <a:latin typeface="微软雅黑" pitchFamily="34" charset="-122"/>
            <a:ea typeface="微软雅黑" pitchFamily="34" charset="-122"/>
          </a:endParaRPr>
        </a:p>
      </dsp:txBody>
      <dsp:txXfrm>
        <a:off x="371972" y="3924843"/>
        <a:ext cx="4723425" cy="559396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064ED98-F720-4A01-BD69-B5EB9AF960BC}">
      <dsp:nvSpPr>
        <dsp:cNvPr id="0" name=""/>
        <dsp:cNvSpPr/>
      </dsp:nvSpPr>
      <dsp:spPr>
        <a:xfrm>
          <a:off x="0" y="394300"/>
          <a:ext cx="6834214" cy="52920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5EAC9EF-DB05-40B3-82FF-FA985BE12A4E}">
      <dsp:nvSpPr>
        <dsp:cNvPr id="0" name=""/>
        <dsp:cNvSpPr/>
      </dsp:nvSpPr>
      <dsp:spPr>
        <a:xfrm>
          <a:off x="341710" y="84340"/>
          <a:ext cx="4783949" cy="619920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80822" tIns="0" rIns="180822" bIns="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100" kern="1200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</a:rPr>
            <a:t>万得量化平台架构</a:t>
          </a:r>
          <a:endParaRPr lang="zh-CN" altLang="en-US" sz="2100" kern="1200" dirty="0">
            <a:solidFill>
              <a:schemeClr val="tx1"/>
            </a:solidFill>
            <a:latin typeface="微软雅黑" pitchFamily="34" charset="-122"/>
            <a:ea typeface="微软雅黑" pitchFamily="34" charset="-122"/>
          </a:endParaRPr>
        </a:p>
      </dsp:txBody>
      <dsp:txXfrm>
        <a:off x="371972" y="114602"/>
        <a:ext cx="4723425" cy="559396"/>
      </dsp:txXfrm>
    </dsp:sp>
    <dsp:sp modelId="{F0380638-26A8-46C1-9F5A-14ABC816FB47}">
      <dsp:nvSpPr>
        <dsp:cNvPr id="0" name=""/>
        <dsp:cNvSpPr/>
      </dsp:nvSpPr>
      <dsp:spPr>
        <a:xfrm>
          <a:off x="0" y="1346860"/>
          <a:ext cx="6834214" cy="52920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7C29C1F-2090-4897-AB30-438AAA4900EA}">
      <dsp:nvSpPr>
        <dsp:cNvPr id="0" name=""/>
        <dsp:cNvSpPr/>
      </dsp:nvSpPr>
      <dsp:spPr>
        <a:xfrm>
          <a:off x="341710" y="1036900"/>
          <a:ext cx="4783949" cy="619920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80822" tIns="0" rIns="180822" bIns="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100" kern="1200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</a:rPr>
            <a:t>启用</a:t>
          </a:r>
          <a:r>
            <a:rPr lang="en-US" altLang="zh-CN" sz="2100" kern="1200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</a:rPr>
            <a:t>C#</a:t>
          </a:r>
          <a:r>
            <a:rPr lang="zh-CN" altLang="en-US" sz="2100" kern="1200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</a:rPr>
            <a:t>量化接口</a:t>
          </a:r>
          <a:endParaRPr lang="zh-CN" altLang="en-US" sz="2100" kern="1200" dirty="0">
            <a:solidFill>
              <a:schemeClr val="tx1"/>
            </a:solidFill>
            <a:latin typeface="微软雅黑" pitchFamily="34" charset="-122"/>
            <a:ea typeface="微软雅黑" pitchFamily="34" charset="-122"/>
          </a:endParaRPr>
        </a:p>
      </dsp:txBody>
      <dsp:txXfrm>
        <a:off x="371972" y="1067162"/>
        <a:ext cx="4723425" cy="559396"/>
      </dsp:txXfrm>
    </dsp:sp>
    <dsp:sp modelId="{350A870C-9AA0-4860-A50C-81B1652B432D}">
      <dsp:nvSpPr>
        <dsp:cNvPr id="0" name=""/>
        <dsp:cNvSpPr/>
      </dsp:nvSpPr>
      <dsp:spPr>
        <a:xfrm>
          <a:off x="0" y="2299421"/>
          <a:ext cx="6834214" cy="52920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5199A73-453E-48D7-8C83-7ABD9FCC5229}">
      <dsp:nvSpPr>
        <dsp:cNvPr id="0" name=""/>
        <dsp:cNvSpPr/>
      </dsp:nvSpPr>
      <dsp:spPr>
        <a:xfrm>
          <a:off x="341710" y="1989461"/>
          <a:ext cx="4783949" cy="619920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80822" tIns="0" rIns="180822" bIns="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100" kern="1200" dirty="0" smtClean="0">
              <a:latin typeface="微软雅黑" pitchFamily="34" charset="-122"/>
              <a:ea typeface="微软雅黑" pitchFamily="34" charset="-122"/>
            </a:rPr>
            <a:t>数据接口</a:t>
          </a:r>
          <a:endParaRPr lang="zh-CN" altLang="en-US" sz="2100" kern="1200" dirty="0">
            <a:latin typeface="微软雅黑" pitchFamily="34" charset="-122"/>
            <a:ea typeface="微软雅黑" pitchFamily="34" charset="-122"/>
          </a:endParaRPr>
        </a:p>
      </dsp:txBody>
      <dsp:txXfrm>
        <a:off x="371972" y="2019723"/>
        <a:ext cx="4723425" cy="559396"/>
      </dsp:txXfrm>
    </dsp:sp>
    <dsp:sp modelId="{90EC6758-910D-470E-B229-5C6F5C3E26D5}">
      <dsp:nvSpPr>
        <dsp:cNvPr id="0" name=""/>
        <dsp:cNvSpPr/>
      </dsp:nvSpPr>
      <dsp:spPr>
        <a:xfrm>
          <a:off x="0" y="3251981"/>
          <a:ext cx="6834214" cy="52920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9E0A752-A0F5-47D9-8CB1-38B4A7A9DADE}">
      <dsp:nvSpPr>
        <dsp:cNvPr id="0" name=""/>
        <dsp:cNvSpPr/>
      </dsp:nvSpPr>
      <dsp:spPr>
        <a:xfrm>
          <a:off x="341710" y="2942021"/>
          <a:ext cx="4783949" cy="619920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80822" tIns="0" rIns="180822" bIns="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100" kern="1200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</a:rPr>
            <a:t>交易接口</a:t>
          </a:r>
          <a:endParaRPr lang="zh-CN" altLang="en-US" sz="2100" kern="1200" dirty="0">
            <a:solidFill>
              <a:schemeClr val="tx1"/>
            </a:solidFill>
            <a:latin typeface="微软雅黑" pitchFamily="34" charset="-122"/>
            <a:ea typeface="微软雅黑" pitchFamily="34" charset="-122"/>
          </a:endParaRPr>
        </a:p>
      </dsp:txBody>
      <dsp:txXfrm>
        <a:off x="371972" y="2972283"/>
        <a:ext cx="4723425" cy="559396"/>
      </dsp:txXfrm>
    </dsp:sp>
    <dsp:sp modelId="{30F11050-CC2F-4167-802E-9351300C9D3E}">
      <dsp:nvSpPr>
        <dsp:cNvPr id="0" name=""/>
        <dsp:cNvSpPr/>
      </dsp:nvSpPr>
      <dsp:spPr>
        <a:xfrm>
          <a:off x="0" y="4204541"/>
          <a:ext cx="6834214" cy="52920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7D21CB3-D999-4BD1-B111-C88CF6F296F9}">
      <dsp:nvSpPr>
        <dsp:cNvPr id="0" name=""/>
        <dsp:cNvSpPr/>
      </dsp:nvSpPr>
      <dsp:spPr>
        <a:xfrm>
          <a:off x="341710" y="3894581"/>
          <a:ext cx="4783949" cy="619920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80822" tIns="0" rIns="180822" bIns="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100" kern="1200" dirty="0" smtClean="0">
              <a:latin typeface="微软雅黑" pitchFamily="34" charset="-122"/>
              <a:ea typeface="微软雅黑" pitchFamily="34" charset="-122"/>
            </a:rPr>
            <a:t>进阶应用</a:t>
          </a:r>
          <a:endParaRPr lang="zh-CN" altLang="en-US" sz="2100" kern="1200" dirty="0">
            <a:latin typeface="微软雅黑" pitchFamily="34" charset="-122"/>
            <a:ea typeface="微软雅黑" pitchFamily="34" charset="-122"/>
          </a:endParaRPr>
        </a:p>
      </dsp:txBody>
      <dsp:txXfrm>
        <a:off x="371972" y="3924843"/>
        <a:ext cx="4723425" cy="55939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ierarchy6">
  <dgm:title val=""/>
  <dgm:desc val=""/>
  <dgm:catLst>
    <dgm:cat type="hierarchy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>
      <dgm:param type="vertAlign" val="mid"/>
      <dgm:param type="horzAlign" val="ctr"/>
    </dgm:alg>
    <dgm:shape xmlns:r="http://schemas.openxmlformats.org/officeDocument/2006/relationships" r:blip="">
      <dgm:adjLst/>
    </dgm:shape>
    <dgm:presOf/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 refType="w" fact="0.3"/>
              <dgm:constr type="t" for="ch" forName="hierFlow"/>
              <dgm:constr type="r" for="ch" forName="hierFlow" refType="w" fact="0.98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/>
              <dgm:constr type="r" for="ch" forName="hierFlow" refType="w" fact="0.7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w" for="des" forName="level1Shape" refType="w"/>
          <dgm:constr type="h" for="des" forName="level1Shape" refType="w" refFor="des" refForName="level1Shape" fact="0.66667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h" refFor="des" refForName="level1Shape" op="equ" fact="0.4"/>
          <dgm:constr type="sibSp" for="des" forName="hierChild1" refType="w" refFor="des" refForName="level1Shape" op="equ" fact="0.3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h" refFor="des" refForName="level1Shape" op="equ"/>
          <dgm:constr type="userB" for="des" refType="sp" refFor="des" op="equ"/>
          <dgm:constr type="h" for="des" forName="firstBuf" refType="h" refFor="des" refForName="level1Shape" fact="0.1"/>
        </dgm:constrLst>
      </dgm:else>
    </dgm:choose>
    <dgm:ruleLst/>
    <dgm:layoutNode name="hierFlow">
      <dgm:alg type="lin">
        <dgm:param type="linDir" val="fromT"/>
        <dgm:param type="nodeVertAlign" val="t"/>
        <dgm:param type="vertAlign" val="t"/>
        <dgm:param type="nodeHorzAlign" val="ctr"/>
        <dgm:param type="fallback" val="2D"/>
      </dgm:alg>
      <dgm:shape xmlns:r="http://schemas.openxmlformats.org/officeDocument/2006/relationships" r:blip="">
        <dgm:adjLst/>
      </dgm:shape>
      <dgm:presOf/>
      <dgm:constrLst/>
      <dgm:ruleLst/>
      <dgm:choose name="Name6">
        <dgm:if name="Name7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8"/>
      </dgm:choose>
      <dgm:layoutNode name="hierChild1">
        <dgm:varLst>
          <dgm:chPref val="1"/>
          <dgm:animOne val="branch"/>
          <dgm:animLvl val="lvl"/>
        </dgm:varLst>
        <dgm:choose name="Name9">
          <dgm:if name="Name10" func="var" arg="dir" op="equ" val="norm">
            <dgm:alg type="hierChild">
              <dgm:param type="linDir" val="fromL"/>
              <dgm:param type="vertAlign" val="t"/>
            </dgm:alg>
          </dgm:if>
          <dgm:else name="Name11">
            <dgm:alg type="hierChild">
              <dgm:param type="linDir" val="fromR"/>
              <dgm:param type="vertAlign" val="t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primFontSz" for="des" ptType="node" op="equ"/>
        </dgm:constrLst>
        <dgm:ruleLst/>
        <dgm:forEach name="Name12" axis="ch" cnt="3">
          <dgm:forEach name="Name13" axis="self" ptType="node">
            <dgm:layoutNode name="Name14">
              <dgm:alg type="hierRoot"/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primFontSz" val="65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15">
                  <dgm:if name="Name16" func="var" arg="dir" op="equ" val="norm">
                    <dgm:alg type="hierChild">
                      <dgm:param type="linDir" val="fromL"/>
                    </dgm:alg>
                  </dgm:if>
                  <dgm:else name="Name17">
                    <dgm:alg type="hierChild">
                      <dgm:param type="linDir" val="from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18" axis="self" ptType="parTrans" cnt="1">
                    <dgm:layoutNode name="Name19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tCtr"/>
                      </dgm:alg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1"/>
                        <dgm:constr type="begPad"/>
                        <dgm:constr type="endPad"/>
                      </dgm:constrLst>
                      <dgm:ruleLst/>
                    </dgm:layoutNode>
                  </dgm:forEach>
                  <dgm:forEach name="Name20" axis="self" ptType="node">
                    <dgm:layoutNode name="Name21">
                      <dgm:alg type="hierRoot"/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primFontSz" val="65"/>
                          <dgm:constr type="tMarg" refType="primFontSz" fact="0.3"/>
                          <dgm:constr type="bMarg" refType="primFontSz" fact="0.3"/>
                          <dgm:constr type="lMarg" refType="primFontSz" fact="0.3"/>
                          <dgm:constr type="r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22">
                          <dgm:if name="Name23" func="var" arg="dir" op="equ" val="norm">
                            <dgm:alg type="hierChild">
                              <dgm:param type="linDir" val="fromL"/>
                            </dgm:alg>
                          </dgm:if>
                          <dgm:else name="Name24">
                            <dgm:alg type="hierChild">
                              <dgm:param type="linDir" val="from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25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alg type="lin">
        <dgm:param type="linDir" val="fromT"/>
        <dgm:param type="nodeVertAlign" val="t"/>
        <dgm:param type="vertAlign" val="t"/>
        <dgm:param type="nodeHorzAlign" val="ctr"/>
      </dgm:alg>
      <dgm:shape xmlns:r="http://schemas.openxmlformats.org/officeDocument/2006/relationships" r:blip="">
        <dgm:adjLst/>
      </dgm:shape>
      <dgm:presOf/>
      <dgm:constrLst>
        <dgm:constr type="userB"/>
        <dgm:constr type="w" for="ch" forName="rectComp" refType="w"/>
        <dgm:constr type="h" for="ch" forName="rectComp" refType="h"/>
        <dgm:constr type="w" for="des" forName="bgRect" refType="w"/>
        <dgm:constr type="primFontSz" for="des" forName="bgRectTx" op="equ"/>
      </dgm:constrLst>
      <dgm:ruleLst/>
      <dgm:forEach name="Name26" axis="ch" ptType="node" st="2">
        <dgm:layoutNode name="rectComp">
          <dgm:alg type="composite">
            <dgm:param type="vertAlign" val="t"/>
            <dgm:param type="horzAlign" val="ctr"/>
          </dgm:alg>
          <dgm:shape xmlns:r="http://schemas.openxmlformats.org/officeDocument/2006/relationships" r:blip="">
            <dgm:adjLst/>
          </dgm:shape>
          <dgm:presOf/>
          <dgm:choose name="Name27">
            <dgm:if name="Name28" func="var" arg="dir" op="equ" val="norm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l" for="ch" forName="bgRectTx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if>
            <dgm:else name="Name29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r" for="ch" forName="bgRectTx" refType="w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else>
          </dgm:choose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presOf axis="desOrSelf" ptType="node"/>
            <dgm:shape xmlns:r="http://schemas.openxmlformats.org/officeDocument/2006/relationships" type="rect" r:blip="" zOrderOff="-999" hideGeom="1">
              <dgm:adjLst/>
            </dgm:shape>
            <dgm:constrLst>
              <dgm:constr type="primFontSz" val="65"/>
            </dgm:constrLst>
            <dgm:ruleLst>
              <dgm:rule type="primFontSz" val="5" fact="NaN" max="NaN"/>
            </dgm:ruleLst>
          </dgm:layoutNode>
        </dgm:layoutNode>
        <dgm:choose name="Name30">
          <dgm:if name="Name31" axis="self" ptType="node" func="revPos" op="gte" val="2">
            <dgm:layoutNode name="spComp">
              <dgm:alg type="composite">
                <dgm:param type="vertAlign" val="t"/>
                <dgm:param type="horzAlign" val="ctr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vSp"/>
                <dgm:constr type="t" for="ch" forName="vSp"/>
                <dgm:constr type="h" for="ch" forName="vSp" refType="userB"/>
                <dgm:constr type="hOff" for="ch" forName="vSp" refType="userA" fact="-0.2"/>
              </dgm:constrLst>
              <dgm:ruleLst/>
              <dgm:layoutNode name="v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32"/>
        </dgm:choose>
      </dgm:forEach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7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1B5191-75EE-40F6-BEFF-062C1B2B0C1C}" type="datetimeFigureOut">
              <a:rPr lang="zh-CN" altLang="en-US" smtClean="0"/>
              <a:pPr/>
              <a:t>2014-12-1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7A6AAC-17F5-4C09-B717-556BF7554848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="" xmlns:p14="http://schemas.microsoft.com/office/powerpoint/2010/main" val="34801405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7A6AAC-17F5-4C09-B717-556BF7554848}" type="slidenum">
              <a:rPr lang="zh-CN" altLang="en-US" smtClean="0"/>
              <a:pPr/>
              <a:t>39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7A6AAC-17F5-4C09-B717-556BF7554848}" type="slidenum">
              <a:rPr lang="zh-CN" altLang="en-US" smtClean="0"/>
              <a:pPr/>
              <a:t>40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7A6AAC-17F5-4C09-B717-556BF7554848}" type="slidenum">
              <a:rPr lang="zh-CN" altLang="en-US" smtClean="0"/>
              <a:pPr/>
              <a:t>45</a:t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图片与标题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14-12-1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="" xmlns:p14="http://schemas.microsoft.com/office/powerpoint/2010/main" val="41646363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49" r:id="rId2"/>
    <p:sldLayoutId id="2147483650" r:id="rId3"/>
    <p:sldLayoutId id="2147483657" r:id="rId4"/>
    <p:sldLayoutId id="2147483659" r:id="rId5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1.vml"/><Relationship Id="rId4" Type="http://schemas.openxmlformats.org/officeDocument/2006/relationships/oleObject" Target="../embeddings/oleObject1.bin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8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2.jpeg"/><Relationship Id="rId4" Type="http://schemas.openxmlformats.org/officeDocument/2006/relationships/image" Target="../media/image41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2.vml"/><Relationship Id="rId5" Type="http://schemas.openxmlformats.org/officeDocument/2006/relationships/oleObject" Target="../embeddings/oleObject2.bin"/><Relationship Id="rId4" Type="http://schemas.openxmlformats.org/officeDocument/2006/relationships/image" Target="../media/image49.jpe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1"/>
          <p:cNvSpPr txBox="1">
            <a:spLocks noChangeArrowheads="1"/>
          </p:cNvSpPr>
          <p:nvPr/>
        </p:nvSpPr>
        <p:spPr bwMode="auto">
          <a:xfrm>
            <a:off x="1547664" y="1197750"/>
            <a:ext cx="4929222" cy="156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4400" b="1">
                <a:solidFill>
                  <a:schemeClr val="tx1"/>
                </a:solidFill>
                <a:latin typeface="Arial" charset="0"/>
                <a:ea typeface="黑体" pitchFamily="2" charset="-122"/>
              </a:defRPr>
            </a:lvl1pPr>
            <a:lvl2pPr marL="742950" indent="-285750" eaLnBrk="0" hangingPunct="0">
              <a:defRPr sz="4400" b="1">
                <a:solidFill>
                  <a:schemeClr val="tx1"/>
                </a:solidFill>
                <a:latin typeface="Arial" charset="0"/>
                <a:ea typeface="黑体" pitchFamily="2" charset="-122"/>
              </a:defRPr>
            </a:lvl2pPr>
            <a:lvl3pPr marL="1143000" indent="-228600" eaLnBrk="0" hangingPunct="0">
              <a:defRPr sz="4400" b="1">
                <a:solidFill>
                  <a:schemeClr val="tx1"/>
                </a:solidFill>
                <a:latin typeface="Arial" charset="0"/>
                <a:ea typeface="黑体" pitchFamily="2" charset="-122"/>
              </a:defRPr>
            </a:lvl3pPr>
            <a:lvl4pPr marL="1600200" indent="-228600" eaLnBrk="0" hangingPunct="0">
              <a:defRPr sz="4400" b="1">
                <a:solidFill>
                  <a:schemeClr val="tx1"/>
                </a:solidFill>
                <a:latin typeface="Arial" charset="0"/>
                <a:ea typeface="黑体" pitchFamily="2" charset="-122"/>
              </a:defRPr>
            </a:lvl4pPr>
            <a:lvl5pPr marL="2057400" indent="-228600" eaLnBrk="0" hangingPunct="0">
              <a:defRPr sz="4400" b="1">
                <a:solidFill>
                  <a:schemeClr val="tx1"/>
                </a:solidFill>
                <a:latin typeface="Arial" charset="0"/>
                <a:ea typeface="黑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黑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黑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黑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黑体" pitchFamily="2" charset="-122"/>
              </a:defRPr>
            </a:lvl9pPr>
          </a:lstStyle>
          <a:p>
            <a:pPr algn="ctr" eaLnBrk="1" hangingPunct="1">
              <a:lnSpc>
                <a:spcPct val="110000"/>
              </a:lnSpc>
              <a:spcBef>
                <a:spcPct val="20000"/>
              </a:spcBef>
            </a:pPr>
            <a:r>
              <a:rPr lang="en-US" altLang="zh-CN" sz="4000" dirty="0" smtClean="0">
                <a:latin typeface="微软雅黑" pitchFamily="34" charset="-122"/>
                <a:ea typeface="微软雅黑" pitchFamily="34" charset="-122"/>
              </a:rPr>
              <a:t>Wind</a:t>
            </a:r>
            <a:r>
              <a:rPr lang="zh-CN" altLang="en-US" sz="4000" dirty="0" smtClean="0">
                <a:latin typeface="微软雅黑" pitchFamily="34" charset="-122"/>
                <a:ea typeface="微软雅黑" pitchFamily="34" charset="-122"/>
              </a:rPr>
              <a:t>量化接口</a:t>
            </a:r>
            <a:endParaRPr lang="en-US" altLang="zh-CN" sz="4000" dirty="0" smtClean="0">
              <a:latin typeface="微软雅黑" pitchFamily="34" charset="-122"/>
              <a:ea typeface="微软雅黑" pitchFamily="34" charset="-122"/>
            </a:endParaRPr>
          </a:p>
          <a:p>
            <a:pPr algn="ctr" eaLnBrk="1" hangingPunct="1">
              <a:lnSpc>
                <a:spcPct val="110000"/>
              </a:lnSpc>
              <a:spcBef>
                <a:spcPct val="20000"/>
              </a:spcBef>
            </a:pPr>
            <a:r>
              <a:rPr lang="en-US" altLang="zh-CN" sz="4000" dirty="0" smtClean="0">
                <a:latin typeface="微软雅黑" pitchFamily="34" charset="-122"/>
                <a:ea typeface="微软雅黑" pitchFamily="34" charset="-122"/>
              </a:rPr>
              <a:t>——C#</a:t>
            </a:r>
            <a:r>
              <a:rPr lang="zh-CN" altLang="en-US" sz="4000" dirty="0">
                <a:latin typeface="微软雅黑" pitchFamily="34" charset="-122"/>
                <a:ea typeface="微软雅黑" pitchFamily="34" charset="-122"/>
              </a:rPr>
              <a:t>篇</a:t>
            </a:r>
          </a:p>
        </p:txBody>
      </p:sp>
      <p:sp>
        <p:nvSpPr>
          <p:cNvPr id="3" name="TextBox 1"/>
          <p:cNvSpPr txBox="1">
            <a:spLocks noChangeArrowheads="1"/>
          </p:cNvSpPr>
          <p:nvPr/>
        </p:nvSpPr>
        <p:spPr bwMode="auto">
          <a:xfrm>
            <a:off x="2627784" y="3140968"/>
            <a:ext cx="3240360" cy="4072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4400" b="1">
                <a:solidFill>
                  <a:schemeClr val="tx1"/>
                </a:solidFill>
                <a:latin typeface="Arial" charset="0"/>
                <a:ea typeface="黑体" pitchFamily="2" charset="-122"/>
              </a:defRPr>
            </a:lvl1pPr>
            <a:lvl2pPr marL="742950" indent="-285750" eaLnBrk="0" hangingPunct="0">
              <a:defRPr sz="4400" b="1">
                <a:solidFill>
                  <a:schemeClr val="tx1"/>
                </a:solidFill>
                <a:latin typeface="Arial" charset="0"/>
                <a:ea typeface="黑体" pitchFamily="2" charset="-122"/>
              </a:defRPr>
            </a:lvl2pPr>
            <a:lvl3pPr marL="1143000" indent="-228600" eaLnBrk="0" hangingPunct="0">
              <a:defRPr sz="4400" b="1">
                <a:solidFill>
                  <a:schemeClr val="tx1"/>
                </a:solidFill>
                <a:latin typeface="Arial" charset="0"/>
                <a:ea typeface="黑体" pitchFamily="2" charset="-122"/>
              </a:defRPr>
            </a:lvl3pPr>
            <a:lvl4pPr marL="1600200" indent="-228600" eaLnBrk="0" hangingPunct="0">
              <a:defRPr sz="4400" b="1">
                <a:solidFill>
                  <a:schemeClr val="tx1"/>
                </a:solidFill>
                <a:latin typeface="Arial" charset="0"/>
                <a:ea typeface="黑体" pitchFamily="2" charset="-122"/>
              </a:defRPr>
            </a:lvl4pPr>
            <a:lvl5pPr marL="2057400" indent="-228600" eaLnBrk="0" hangingPunct="0">
              <a:defRPr sz="4400" b="1">
                <a:solidFill>
                  <a:schemeClr val="tx1"/>
                </a:solidFill>
                <a:latin typeface="Arial" charset="0"/>
                <a:ea typeface="黑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黑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黑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黑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黑体" pitchFamily="2" charset="-122"/>
              </a:defRPr>
            </a:lvl9pPr>
          </a:lstStyle>
          <a:p>
            <a:pPr algn="ctr" eaLnBrk="1" hangingPunct="1">
              <a:lnSpc>
                <a:spcPct val="110000"/>
              </a:lnSpc>
              <a:spcBef>
                <a:spcPct val="20000"/>
              </a:spcBef>
            </a:pPr>
            <a:r>
              <a:rPr lang="en-US" altLang="zh-CN" sz="2000" dirty="0" smtClean="0">
                <a:latin typeface="微软雅黑" pitchFamily="34" charset="-122"/>
                <a:ea typeface="微软雅黑" pitchFamily="34" charset="-122"/>
              </a:rPr>
              <a:t>2014</a:t>
            </a:r>
            <a:r>
              <a:rPr lang="zh-CN" altLang="en-US" sz="2000" dirty="0" smtClean="0">
                <a:latin typeface="微软雅黑" pitchFamily="34" charset="-122"/>
                <a:ea typeface="微软雅黑" pitchFamily="34" charset="-122"/>
              </a:rPr>
              <a:t>年</a:t>
            </a:r>
            <a:r>
              <a:rPr lang="en-US" altLang="zh-CN" sz="2000" dirty="0" smtClean="0">
                <a:latin typeface="微软雅黑" pitchFamily="34" charset="-122"/>
                <a:ea typeface="微软雅黑" pitchFamily="34" charset="-122"/>
              </a:rPr>
              <a:t>12</a:t>
            </a:r>
            <a:r>
              <a:rPr lang="zh-CN" altLang="en-US" sz="2000" dirty="0" smtClean="0">
                <a:latin typeface="微软雅黑" pitchFamily="34" charset="-122"/>
                <a:ea typeface="微软雅黑" pitchFamily="34" charset="-122"/>
              </a:rPr>
              <a:t>月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1"/>
          <p:cNvSpPr txBox="1">
            <a:spLocks/>
          </p:cNvSpPr>
          <p:nvPr/>
        </p:nvSpPr>
        <p:spPr>
          <a:xfrm>
            <a:off x="755576" y="11723"/>
            <a:ext cx="7316886" cy="562074"/>
          </a:xfrm>
          <a:prstGeom prst="rect">
            <a:avLst/>
          </a:prstGeom>
        </p:spPr>
        <p:txBody>
          <a:bodyPr/>
          <a:lstStyle/>
          <a:p>
            <a:pPr>
              <a:spcBef>
                <a:spcPct val="0"/>
              </a:spcBef>
            </a:pPr>
            <a:r>
              <a:rPr lang="zh-CN" altLang="en-US" sz="3200" dirty="0">
                <a:latin typeface="微软雅黑" pitchFamily="34" charset="-122"/>
                <a:ea typeface="微软雅黑" pitchFamily="34" charset="-122"/>
              </a:rPr>
              <a:t>启用</a:t>
            </a:r>
            <a:r>
              <a:rPr lang="en-US" altLang="zh-CN" sz="3200" dirty="0">
                <a:latin typeface="微软雅黑" pitchFamily="34" charset="-122"/>
                <a:ea typeface="微软雅黑" pitchFamily="34" charset="-122"/>
              </a:rPr>
              <a:t>C#</a:t>
            </a:r>
            <a:r>
              <a:rPr lang="zh-CN" altLang="en-US" sz="3200" dirty="0">
                <a:latin typeface="微软雅黑" pitchFamily="34" charset="-122"/>
                <a:ea typeface="微软雅黑" pitchFamily="34" charset="-122"/>
              </a:rPr>
              <a:t>量化接口</a:t>
            </a:r>
          </a:p>
          <a:p>
            <a:pPr lvl="0">
              <a:spcBef>
                <a:spcPct val="0"/>
              </a:spcBef>
            </a:pPr>
            <a:endParaRPr kumimoji="0" lang="zh-CN" altLang="en-US" sz="3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j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28596" y="785794"/>
            <a:ext cx="72152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１、如何获取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Wind C# API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？</a:t>
            </a:r>
            <a:endParaRPr lang="zh-CN" altLang="en-US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403648" y="1196752"/>
            <a:ext cx="402122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开放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源代码，</a:t>
            </a:r>
            <a:r>
              <a:rPr lang="zh-CN" altLang="en-US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大奖章网站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可直接下载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  <a:p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编译后生成</a:t>
            </a:r>
            <a:r>
              <a:rPr lang="en-US" altLang="zh-CN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WAPIWrapperCSharp.dll</a:t>
            </a:r>
            <a:endParaRPr lang="zh-CN" altLang="en-US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5017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600" y="1843083"/>
            <a:ext cx="6567207" cy="41031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矩形 2"/>
          <p:cNvSpPr/>
          <p:nvPr/>
        </p:nvSpPr>
        <p:spPr>
          <a:xfrm>
            <a:off x="3275856" y="1988840"/>
            <a:ext cx="720080" cy="2880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dk1"/>
          </a:lnRef>
          <a:fillRef idx="100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7" name="直接箭头连接符 6"/>
          <p:cNvCxnSpPr>
            <a:stCxn id="3" idx="2"/>
          </p:cNvCxnSpPr>
          <p:nvPr/>
        </p:nvCxnSpPr>
        <p:spPr>
          <a:xfrm>
            <a:off x="3635896" y="2276872"/>
            <a:ext cx="1224136" cy="792088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4788024" y="2915652"/>
            <a:ext cx="35189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不需要</a:t>
            </a:r>
            <a:r>
              <a:rPr lang="zh-CN" altLang="en-US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再</a:t>
            </a:r>
            <a:r>
              <a:rPr lang="zh-CN" altLang="en-US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区分</a:t>
            </a:r>
            <a:r>
              <a:rPr lang="zh-CN" altLang="en-US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程序</a:t>
            </a:r>
            <a:r>
              <a:rPr lang="zh-CN" altLang="en-US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平台</a:t>
            </a:r>
            <a:r>
              <a:rPr lang="en-US" altLang="zh-CN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(x86/x64)</a:t>
            </a:r>
            <a:endParaRPr lang="zh-CN" altLang="en-US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animBg="1"/>
      <p:bldP spid="9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1"/>
          <p:cNvSpPr txBox="1">
            <a:spLocks/>
          </p:cNvSpPr>
          <p:nvPr/>
        </p:nvSpPr>
        <p:spPr>
          <a:xfrm>
            <a:off x="755576" y="11723"/>
            <a:ext cx="7316886" cy="562074"/>
          </a:xfrm>
          <a:prstGeom prst="rect">
            <a:avLst/>
          </a:prstGeom>
        </p:spPr>
        <p:txBody>
          <a:bodyPr/>
          <a:lstStyle/>
          <a:p>
            <a:pPr>
              <a:spcBef>
                <a:spcPct val="0"/>
              </a:spcBef>
            </a:pPr>
            <a:r>
              <a:rPr lang="zh-CN" altLang="en-US" sz="3200" dirty="0">
                <a:latin typeface="微软雅黑" pitchFamily="34" charset="-122"/>
                <a:ea typeface="微软雅黑" pitchFamily="34" charset="-122"/>
              </a:rPr>
              <a:t>启用</a:t>
            </a:r>
            <a:r>
              <a:rPr lang="en-US" altLang="zh-CN" sz="3200" dirty="0">
                <a:latin typeface="微软雅黑" pitchFamily="34" charset="-122"/>
                <a:ea typeface="微软雅黑" pitchFamily="34" charset="-122"/>
              </a:rPr>
              <a:t>C#</a:t>
            </a:r>
            <a:r>
              <a:rPr lang="zh-CN" altLang="en-US" sz="3200" dirty="0">
                <a:latin typeface="微软雅黑" pitchFamily="34" charset="-122"/>
                <a:ea typeface="微软雅黑" pitchFamily="34" charset="-122"/>
              </a:rPr>
              <a:t>量化接口</a:t>
            </a:r>
          </a:p>
          <a:p>
            <a:pPr lvl="0">
              <a:spcBef>
                <a:spcPct val="0"/>
              </a:spcBef>
            </a:pPr>
            <a:endParaRPr kumimoji="0" lang="zh-CN" altLang="en-US" sz="3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j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28596" y="785794"/>
            <a:ext cx="72152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2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、新建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C#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项目，添加引用</a:t>
            </a:r>
            <a:r>
              <a:rPr lang="en-US" altLang="zh-CN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WAPIWrapperCSharp.dll</a:t>
            </a:r>
            <a:endParaRPr lang="zh-CN" altLang="en-US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5120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570" y="1155126"/>
            <a:ext cx="7341098" cy="52920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1767862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229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229" y="1556792"/>
            <a:ext cx="6541527" cy="35283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标题 1"/>
          <p:cNvSpPr txBox="1">
            <a:spLocks/>
          </p:cNvSpPr>
          <p:nvPr/>
        </p:nvSpPr>
        <p:spPr>
          <a:xfrm>
            <a:off x="755576" y="11723"/>
            <a:ext cx="7316886" cy="562074"/>
          </a:xfrm>
          <a:prstGeom prst="rect">
            <a:avLst/>
          </a:prstGeom>
        </p:spPr>
        <p:txBody>
          <a:bodyPr/>
          <a:lstStyle/>
          <a:p>
            <a:pPr>
              <a:spcBef>
                <a:spcPct val="0"/>
              </a:spcBef>
            </a:pPr>
            <a:r>
              <a:rPr lang="zh-CN" altLang="en-US" sz="3200" dirty="0">
                <a:latin typeface="微软雅黑" pitchFamily="34" charset="-122"/>
                <a:ea typeface="微软雅黑" pitchFamily="34" charset="-122"/>
              </a:rPr>
              <a:t>启用</a:t>
            </a:r>
            <a:r>
              <a:rPr lang="en-US" altLang="zh-CN" sz="3200" dirty="0">
                <a:latin typeface="微软雅黑" pitchFamily="34" charset="-122"/>
                <a:ea typeface="微软雅黑" pitchFamily="34" charset="-122"/>
              </a:rPr>
              <a:t>C#</a:t>
            </a:r>
            <a:r>
              <a:rPr lang="zh-CN" altLang="en-US" sz="3200" dirty="0">
                <a:latin typeface="微软雅黑" pitchFamily="34" charset="-122"/>
                <a:ea typeface="微软雅黑" pitchFamily="34" charset="-122"/>
              </a:rPr>
              <a:t>量化接口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28596" y="785794"/>
            <a:ext cx="80010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3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、添加引用代码</a:t>
            </a:r>
            <a:r>
              <a:rPr lang="en-US" altLang="zh-CN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using WAPIWrapperCSharp;</a:t>
            </a:r>
            <a:endParaRPr lang="en-US" altLang="zh-CN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1187624" y="2348880"/>
            <a:ext cx="1944216" cy="2880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="" xmlns:p14="http://schemas.microsoft.com/office/powerpoint/2010/main" val="3111630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图示 4"/>
          <p:cNvGraphicFramePr/>
          <p:nvPr>
            <p:extLst>
              <p:ext uri="{D42A27DB-BD31-4B8C-83A1-F6EECF244321}">
                <p14:modId xmlns="" xmlns:p14="http://schemas.microsoft.com/office/powerpoint/2010/main" val="1729357298"/>
              </p:ext>
            </p:extLst>
          </p:nvPr>
        </p:nvGraphicFramePr>
        <p:xfrm>
          <a:off x="1285852" y="1071546"/>
          <a:ext cx="6834214" cy="48180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标题 1"/>
          <p:cNvSpPr txBox="1">
            <a:spLocks/>
          </p:cNvSpPr>
          <p:nvPr/>
        </p:nvSpPr>
        <p:spPr>
          <a:xfrm>
            <a:off x="755576" y="11723"/>
            <a:ext cx="4104456" cy="562074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zh-CN" sz="3200" dirty="0" smtClean="0">
                <a:latin typeface="微软雅黑" pitchFamily="34" charset="-122"/>
                <a:ea typeface="微软雅黑" pitchFamily="34" charset="-122"/>
              </a:rPr>
              <a:t>Wind</a:t>
            </a:r>
            <a:r>
              <a:rPr lang="zh-CN" altLang="en-US" sz="3200" dirty="0" smtClean="0">
                <a:latin typeface="微软雅黑" pitchFamily="34" charset="-122"/>
                <a:ea typeface="微软雅黑" pitchFamily="34" charset="-122"/>
              </a:rPr>
              <a:t>量化平台</a:t>
            </a:r>
          </a:p>
        </p:txBody>
      </p:sp>
    </p:spTree>
    <p:extLst>
      <p:ext uri="{BB962C8B-B14F-4D97-AF65-F5344CB8AC3E}">
        <p14:creationId xmlns="" xmlns:p14="http://schemas.microsoft.com/office/powerpoint/2010/main" val="35813592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表格 51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3988683506"/>
              </p:ext>
            </p:extLst>
          </p:nvPr>
        </p:nvGraphicFramePr>
        <p:xfrm>
          <a:off x="776561" y="620688"/>
          <a:ext cx="7572428" cy="58521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6300"/>
                <a:gridCol w="1890404"/>
                <a:gridCol w="4505724"/>
              </a:tblGrid>
              <a:tr h="275961">
                <a:tc rowSpan="4">
                  <a:txBody>
                    <a:bodyPr/>
                    <a:lstStyle/>
                    <a:p>
                      <a:r>
                        <a:rPr lang="zh-CN" altLang="en-US" sz="1600" kern="1200" baseline="0" dirty="0" smtClean="0">
                          <a:latin typeface="微软雅黑" pitchFamily="34" charset="-122"/>
                          <a:ea typeface="微软雅黑" pitchFamily="34" charset="-122"/>
                        </a:rPr>
                        <a:t>控制函数 </a:t>
                      </a:r>
                      <a:endParaRPr lang="zh-CN" altLang="en-US" sz="1600" b="0" kern="1200" baseline="0" dirty="0" smtClean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kern="1200" dirty="0" smtClean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start</a:t>
                      </a:r>
                      <a:r>
                        <a:rPr lang="en-US" altLang="zh-CN" sz="1600" kern="1200" baseline="0" dirty="0" smtClean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 	</a:t>
                      </a:r>
                      <a:endParaRPr lang="en-US" altLang="zh-CN" sz="1600" b="0" kern="1200" baseline="0" dirty="0" smtClean="0">
                        <a:solidFill>
                          <a:srgbClr val="FF0000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kern="1200" baseline="0" dirty="0" smtClean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启动</a:t>
                      </a:r>
                      <a:r>
                        <a:rPr lang="en-US" altLang="zh-CN" sz="1600" kern="1200" baseline="0" dirty="0" smtClean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Wind</a:t>
                      </a:r>
                      <a:r>
                        <a:rPr lang="zh-CN" altLang="en-US" sz="1600" kern="1200" baseline="0" dirty="0" smtClean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接口，并认证登录</a:t>
                      </a:r>
                      <a:endParaRPr lang="zh-CN" altLang="en-US" sz="1600" b="0" kern="1200" baseline="0" dirty="0" smtClean="0">
                        <a:solidFill>
                          <a:srgbClr val="FF0000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/>
                </a:tc>
              </a:tr>
              <a:tr h="275961">
                <a:tc vMerge="1">
                  <a:txBody>
                    <a:bodyPr/>
                    <a:lstStyle/>
                    <a:p>
                      <a:pPr algn="ctr"/>
                      <a:endParaRPr lang="zh-CN" altLang="en-US" sz="1400" b="1" dirty="0">
                        <a:solidFill>
                          <a:schemeClr val="tx1"/>
                        </a:solidFill>
                        <a:latin typeface="+mn-lt"/>
                        <a:ea typeface="华文细黑" pitchFamily="2" charset="-122"/>
                        <a:cs typeface="Courier New" pitchFamily="49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kern="1200" dirty="0" smtClean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stop</a:t>
                      </a:r>
                      <a:r>
                        <a:rPr lang="en-US" altLang="zh-CN" sz="1600" kern="1200" baseline="0" dirty="0" smtClean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	</a:t>
                      </a:r>
                      <a:endParaRPr lang="en-US" altLang="zh-CN" sz="1600" b="0" kern="1200" baseline="0" dirty="0" smtClean="0">
                        <a:solidFill>
                          <a:srgbClr val="FF0000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kern="1200" baseline="0" dirty="0" smtClean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停止</a:t>
                      </a:r>
                      <a:r>
                        <a:rPr lang="en-US" altLang="zh-CN" sz="1600" kern="1200" baseline="0" dirty="0" smtClean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Wind</a:t>
                      </a:r>
                      <a:r>
                        <a:rPr lang="zh-CN" altLang="en-US" sz="1600" kern="1200" baseline="0" dirty="0" smtClean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接口</a:t>
                      </a:r>
                      <a:endParaRPr lang="zh-CN" altLang="en-US" sz="1600" b="0" kern="1200" baseline="0" dirty="0" smtClean="0">
                        <a:solidFill>
                          <a:srgbClr val="FF0000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/>
                </a:tc>
              </a:tr>
              <a:tr h="275961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isconnec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0" kern="1200" baseline="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查询是否已经连接了</a:t>
                      </a:r>
                      <a:r>
                        <a:rPr lang="en-US" altLang="zh-CN" sz="1600" b="0" kern="1200" baseline="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Wind</a:t>
                      </a:r>
                      <a:r>
                        <a:rPr lang="zh-CN" altLang="en-US" sz="1600" b="0" kern="1200" baseline="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接口</a:t>
                      </a:r>
                    </a:p>
                  </a:txBody>
                  <a:tcPr/>
                </a:tc>
              </a:tr>
              <a:tr h="275961">
                <a:tc vMerge="1">
                  <a:txBody>
                    <a:bodyPr/>
                    <a:lstStyle/>
                    <a:p>
                      <a:pPr algn="ctr"/>
                      <a:endParaRPr lang="zh-CN" altLang="en-US" sz="1400" b="1" dirty="0">
                        <a:solidFill>
                          <a:schemeClr val="tx1"/>
                        </a:solidFill>
                        <a:latin typeface="+mn-lt"/>
                        <a:ea typeface="华文细黑" pitchFamily="2" charset="-122"/>
                        <a:cs typeface="Courier New" pitchFamily="49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cancelReque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0" kern="1200" baseline="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取消</a:t>
                      </a:r>
                      <a:r>
                        <a:rPr lang="en-US" altLang="zh-CN" sz="1600" b="0" kern="1200" baseline="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WSQ</a:t>
                      </a:r>
                      <a:r>
                        <a:rPr lang="zh-CN" altLang="en-US" sz="1600" b="0" kern="1200" baseline="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订阅请求</a:t>
                      </a:r>
                    </a:p>
                  </a:txBody>
                  <a:tcPr/>
                </a:tc>
              </a:tr>
              <a:tr h="275961">
                <a:tc rowSpan="9">
                  <a:txBody>
                    <a:bodyPr/>
                    <a:lstStyle/>
                    <a:p>
                      <a:r>
                        <a:rPr lang="zh-CN" altLang="en-US" sz="1600" kern="1200" baseline="0" dirty="0" smtClean="0">
                          <a:latin typeface="微软雅黑" pitchFamily="34" charset="-122"/>
                          <a:ea typeface="微软雅黑" pitchFamily="34" charset="-122"/>
                        </a:rPr>
                        <a:t>数据函数 	</a:t>
                      </a:r>
                      <a:endParaRPr lang="zh-CN" altLang="en-US" sz="1600" b="0" kern="1200" baseline="0" dirty="0" smtClean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altLang="zh-CN" sz="1600" dirty="0" smtClean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WSD</a:t>
                      </a:r>
                      <a:endParaRPr lang="zh-CN" altLang="en-US" sz="1600" b="0" dirty="0">
                        <a:solidFill>
                          <a:srgbClr val="FF0000"/>
                        </a:solidFill>
                        <a:latin typeface="微软雅黑" pitchFamily="34" charset="-122"/>
                        <a:ea typeface="微软雅黑" pitchFamily="34" charset="-122"/>
                        <a:cs typeface="Courier New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600" kern="1200" baseline="0" dirty="0" smtClean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多值函数：日期序列数据</a:t>
                      </a:r>
                      <a:endParaRPr lang="zh-CN" altLang="en-US" sz="1600" b="0" kern="1200" baseline="0" dirty="0" smtClean="0">
                        <a:solidFill>
                          <a:srgbClr val="FF0000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/>
                </a:tc>
              </a:tr>
              <a:tr h="275961">
                <a:tc vMerge="1">
                  <a:txBody>
                    <a:bodyPr/>
                    <a:lstStyle/>
                    <a:p>
                      <a:pPr algn="ctr"/>
                      <a:endParaRPr lang="zh-CN" altLang="en-US" sz="1500" b="1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Courier New" pitchFamily="49" charset="0"/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600" dirty="0" smtClean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WSI</a:t>
                      </a:r>
                      <a:endParaRPr lang="zh-CN" altLang="en-US" sz="1600" b="0" dirty="0">
                        <a:solidFill>
                          <a:srgbClr val="FF0000"/>
                        </a:solidFill>
                        <a:latin typeface="微软雅黑" pitchFamily="34" charset="-122"/>
                        <a:ea typeface="微软雅黑" pitchFamily="34" charset="-122"/>
                        <a:cs typeface="Courier New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600" kern="1200" baseline="0" dirty="0" smtClean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多值函数：分钟序列数据</a:t>
                      </a:r>
                      <a:endParaRPr lang="zh-CN" altLang="en-US" sz="1600" b="0" kern="1200" baseline="0" dirty="0" smtClean="0">
                        <a:solidFill>
                          <a:srgbClr val="FF0000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/>
                </a:tc>
              </a:tr>
              <a:tr h="275961">
                <a:tc vMerge="1">
                  <a:txBody>
                    <a:bodyPr/>
                    <a:lstStyle/>
                    <a:p>
                      <a:pPr algn="ctr"/>
                      <a:endParaRPr lang="zh-CN" altLang="en-US" sz="1500" b="1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Courier New" pitchFamily="49" charset="0"/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600" kern="1200" baseline="0" dirty="0" smtClean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WST 	</a:t>
                      </a:r>
                      <a:endParaRPr lang="en-US" altLang="zh-CN" sz="1600" b="0" kern="1200" baseline="0" dirty="0" smtClean="0">
                        <a:solidFill>
                          <a:srgbClr val="FF0000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600" kern="1200" baseline="0" dirty="0" smtClean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多值函数：日内</a:t>
                      </a:r>
                      <a:r>
                        <a:rPr lang="en-US" altLang="zh-CN" sz="1600" kern="1200" baseline="0" dirty="0" smtClean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Tick</a:t>
                      </a:r>
                      <a:r>
                        <a:rPr lang="zh-CN" altLang="en-US" sz="1600" kern="1200" baseline="0" dirty="0" smtClean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序列数据</a:t>
                      </a:r>
                      <a:endParaRPr lang="zh-CN" altLang="en-US" sz="1600" b="0" kern="1200" baseline="0" dirty="0" smtClean="0">
                        <a:solidFill>
                          <a:srgbClr val="FF0000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/>
                </a:tc>
              </a:tr>
              <a:tr h="275961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600" dirty="0" smtClean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WSQ</a:t>
                      </a:r>
                      <a:endParaRPr lang="zh-CN" altLang="en-US" sz="1600" b="0" dirty="0">
                        <a:solidFill>
                          <a:srgbClr val="FF0000"/>
                        </a:solidFill>
                        <a:latin typeface="微软雅黑" pitchFamily="34" charset="-122"/>
                        <a:ea typeface="微软雅黑" pitchFamily="34" charset="-122"/>
                        <a:cs typeface="Courier New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600" dirty="0" smtClean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获取订阅实时行情数据</a:t>
                      </a:r>
                      <a:endParaRPr lang="zh-CN" altLang="en-US" sz="1600" b="0" dirty="0">
                        <a:solidFill>
                          <a:srgbClr val="FF0000"/>
                        </a:solidFill>
                        <a:latin typeface="微软雅黑" pitchFamily="34" charset="-122"/>
                        <a:ea typeface="微软雅黑" pitchFamily="34" charset="-122"/>
                        <a:cs typeface="Courier New" pitchFamily="49" charset="0"/>
                      </a:endParaRPr>
                    </a:p>
                  </a:txBody>
                  <a:tcPr/>
                </a:tc>
              </a:tr>
              <a:tr h="275961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kern="1200" baseline="0" dirty="0" smtClean="0">
                          <a:solidFill>
                            <a:schemeClr val="tx2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WSS 	</a:t>
                      </a:r>
                      <a:endParaRPr lang="en-US" altLang="zh-CN" sz="1600" b="0" kern="1200" baseline="0" dirty="0" smtClean="0">
                        <a:solidFill>
                          <a:schemeClr val="tx2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kern="1200" baseline="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多值函数：历史快照数据</a:t>
                      </a:r>
                      <a:endParaRPr lang="zh-CN" altLang="en-US" sz="1600" b="0" kern="1200" baseline="0" dirty="0" smtClean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/>
                </a:tc>
              </a:tr>
              <a:tr h="275961">
                <a:tc vMerge="1">
                  <a:txBody>
                    <a:bodyPr/>
                    <a:lstStyle/>
                    <a:p>
                      <a:pPr algn="ctr"/>
                      <a:endParaRPr lang="zh-CN" altLang="en-US" sz="1500" b="1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Courier New" pitchFamily="49" charset="0"/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600" dirty="0" smtClean="0">
                          <a:solidFill>
                            <a:schemeClr val="tx2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WSET</a:t>
                      </a:r>
                      <a:endParaRPr lang="zh-CN" altLang="en-US" sz="1600" b="0" dirty="0">
                        <a:solidFill>
                          <a:schemeClr val="tx2"/>
                        </a:solidFill>
                        <a:latin typeface="微软雅黑" pitchFamily="34" charset="-122"/>
                        <a:ea typeface="微软雅黑" pitchFamily="34" charset="-122"/>
                        <a:cs typeface="Courier New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600" b="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Courier New" pitchFamily="49" charset="0"/>
                        </a:rPr>
                        <a:t>获取指定数据集内容，包含指数成分、权重等</a:t>
                      </a:r>
                      <a:endParaRPr lang="zh-CN" altLang="en-US" sz="1600" b="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Courier New" pitchFamily="49" charset="0"/>
                      </a:endParaRPr>
                    </a:p>
                  </a:txBody>
                  <a:tcPr/>
                </a:tc>
              </a:tr>
              <a:tr h="275961">
                <a:tc vMerge="1">
                  <a:txBody>
                    <a:bodyPr/>
                    <a:lstStyle/>
                    <a:p>
                      <a:pPr algn="ctr"/>
                      <a:endParaRPr lang="zh-CN" altLang="en-US" sz="1400" b="0" dirty="0">
                        <a:solidFill>
                          <a:schemeClr val="tx1"/>
                        </a:solidFill>
                        <a:latin typeface="+mn-lt"/>
                        <a:ea typeface="华文细黑" pitchFamily="2" charset="-122"/>
                        <a:cs typeface="Courier New" pitchFamily="49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600" dirty="0" smtClean="0">
                          <a:latin typeface="微软雅黑" pitchFamily="34" charset="-122"/>
                          <a:ea typeface="微软雅黑" pitchFamily="34" charset="-122"/>
                        </a:rPr>
                        <a:t>WEQS</a:t>
                      </a:r>
                      <a:endParaRPr lang="zh-CN" altLang="en-US" sz="1600" b="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Courier New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600" dirty="0" smtClean="0">
                          <a:latin typeface="微软雅黑" pitchFamily="34" charset="-122"/>
                          <a:ea typeface="微软雅黑" pitchFamily="34" charset="-122"/>
                        </a:rPr>
                        <a:t>获取终端证券筛选的结果</a:t>
                      </a:r>
                      <a:endParaRPr lang="zh-CN" altLang="en-US" sz="1600" b="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Courier New" pitchFamily="49" charset="0"/>
                      </a:endParaRPr>
                    </a:p>
                  </a:txBody>
                  <a:tcPr/>
                </a:tc>
              </a:tr>
              <a:tr h="275961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dirty="0" smtClean="0">
                          <a:latin typeface="微软雅黑" pitchFamily="34" charset="-122"/>
                          <a:ea typeface="微软雅黑" pitchFamily="34" charset="-122"/>
                        </a:rPr>
                        <a:t>WPF/</a:t>
                      </a:r>
                      <a:r>
                        <a:rPr lang="en-US" altLang="zh-CN" sz="1600" kern="1200" dirty="0" smtClean="0">
                          <a:latin typeface="微软雅黑" pitchFamily="34" charset="-122"/>
                          <a:ea typeface="微软雅黑" pitchFamily="34" charset="-122"/>
                        </a:rPr>
                        <a:t>WUPF</a:t>
                      </a:r>
                      <a:endParaRPr lang="zh-CN" altLang="en-US" sz="1600" b="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Courier New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dirty="0" smtClean="0">
                          <a:latin typeface="微软雅黑" pitchFamily="34" charset="-122"/>
                          <a:ea typeface="微软雅黑" pitchFamily="34" charset="-122"/>
                        </a:rPr>
                        <a:t>组合管理报表下载</a:t>
                      </a:r>
                      <a:r>
                        <a:rPr lang="en-US" altLang="zh-CN" sz="1600" dirty="0" smtClean="0">
                          <a:latin typeface="微软雅黑" pitchFamily="34" charset="-122"/>
                          <a:ea typeface="微软雅黑" pitchFamily="34" charset="-122"/>
                        </a:rPr>
                        <a:t>/</a:t>
                      </a:r>
                      <a:r>
                        <a:rPr lang="zh-CN" altLang="en-US" sz="1600" kern="1200" dirty="0" smtClean="0">
                          <a:latin typeface="微软雅黑" pitchFamily="34" charset="-122"/>
                          <a:ea typeface="微软雅黑" pitchFamily="34" charset="-122"/>
                        </a:rPr>
                        <a:t>组合持仓数据直接上传</a:t>
                      </a:r>
                      <a:endParaRPr lang="zh-CN" altLang="en-US" sz="1600" b="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Courier New" pitchFamily="49" charset="0"/>
                      </a:endParaRPr>
                    </a:p>
                  </a:txBody>
                  <a:tcPr/>
                </a:tc>
              </a:tr>
              <a:tr h="225548">
                <a:tc vMerge="1">
                  <a:txBody>
                    <a:bodyPr/>
                    <a:lstStyle/>
                    <a:p>
                      <a:pPr algn="ctr"/>
                      <a:endParaRPr lang="zh-CN" altLang="en-US" sz="1500" b="1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Courier New" pitchFamily="49" charset="0"/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b="0" dirty="0" smtClean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EDB</a:t>
                      </a:r>
                      <a:endParaRPr lang="zh-CN" altLang="en-US" sz="1600" b="0" dirty="0">
                        <a:solidFill>
                          <a:srgbClr val="FF0000"/>
                        </a:solidFill>
                        <a:latin typeface="微软雅黑" pitchFamily="34" charset="-122"/>
                        <a:ea typeface="微软雅黑" pitchFamily="34" charset="-122"/>
                        <a:cs typeface="Courier New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0" dirty="0" smtClean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  <a:cs typeface="Courier New" pitchFamily="49" charset="0"/>
                        </a:rPr>
                        <a:t>获取经济数据库数据</a:t>
                      </a:r>
                      <a:endParaRPr lang="zh-CN" altLang="en-US" sz="1600" b="0" dirty="0">
                        <a:solidFill>
                          <a:srgbClr val="FF0000"/>
                        </a:solidFill>
                        <a:latin typeface="微软雅黑" pitchFamily="34" charset="-122"/>
                        <a:ea typeface="微软雅黑" pitchFamily="34" charset="-122"/>
                        <a:cs typeface="Courier New" pitchFamily="49" charset="0"/>
                      </a:endParaRPr>
                    </a:p>
                  </a:txBody>
                  <a:tcPr/>
                </a:tc>
              </a:tr>
              <a:tr h="275961">
                <a:tc rowSpan="4">
                  <a:txBody>
                    <a:bodyPr/>
                    <a:lstStyle/>
                    <a:p>
                      <a:r>
                        <a:rPr lang="zh-CN" altLang="en-US" sz="1600" kern="1200" baseline="0" dirty="0" smtClean="0">
                          <a:latin typeface="微软雅黑" pitchFamily="34" charset="-122"/>
                          <a:ea typeface="微软雅黑" pitchFamily="34" charset="-122"/>
                        </a:rPr>
                        <a:t>工具函数 </a:t>
                      </a:r>
                      <a:endParaRPr lang="zh-CN" altLang="en-US" sz="1600" b="0" kern="1200" baseline="0" dirty="0" smtClean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dirty="0" smtClean="0">
                          <a:latin typeface="微软雅黑" pitchFamily="34" charset="-122"/>
                          <a:ea typeface="微软雅黑" pitchFamily="34" charset="-122"/>
                        </a:rPr>
                        <a:t>TDays</a:t>
                      </a:r>
                      <a:endParaRPr lang="zh-CN" altLang="en-US" sz="1600" b="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Courier New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dirty="0" smtClean="0">
                          <a:latin typeface="微软雅黑" pitchFamily="34" charset="-122"/>
                          <a:ea typeface="微软雅黑" pitchFamily="34" charset="-122"/>
                        </a:rPr>
                        <a:t>获取</a:t>
                      </a:r>
                      <a:r>
                        <a:rPr lang="en-US" altLang="zh-CN" sz="1600" dirty="0" smtClean="0">
                          <a:latin typeface="微软雅黑" pitchFamily="34" charset="-122"/>
                          <a:ea typeface="微软雅黑" pitchFamily="34" charset="-122"/>
                        </a:rPr>
                        <a:t>startDate</a:t>
                      </a:r>
                      <a:r>
                        <a:rPr lang="zh-CN" altLang="en-US" sz="1600" dirty="0" smtClean="0">
                          <a:latin typeface="微软雅黑" pitchFamily="34" charset="-122"/>
                          <a:ea typeface="微软雅黑" pitchFamily="34" charset="-122"/>
                        </a:rPr>
                        <a:t>和</a:t>
                      </a:r>
                      <a:r>
                        <a:rPr lang="en-US" altLang="zh-CN" sz="1600" dirty="0" smtClean="0">
                          <a:latin typeface="微软雅黑" pitchFamily="34" charset="-122"/>
                          <a:ea typeface="微软雅黑" pitchFamily="34" charset="-122"/>
                        </a:rPr>
                        <a:t>endDate</a:t>
                      </a:r>
                      <a:r>
                        <a:rPr lang="zh-CN" altLang="en-US" sz="1600" dirty="0" smtClean="0">
                          <a:latin typeface="微软雅黑" pitchFamily="34" charset="-122"/>
                          <a:ea typeface="微软雅黑" pitchFamily="34" charset="-122"/>
                        </a:rPr>
                        <a:t>之间的有效日期序列</a:t>
                      </a:r>
                      <a:endParaRPr lang="zh-CN" altLang="en-US" sz="1600" b="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Courier New" pitchFamily="49" charset="0"/>
                      </a:endParaRPr>
                    </a:p>
                  </a:txBody>
                  <a:tcPr/>
                </a:tc>
              </a:tr>
              <a:tr h="275961">
                <a:tc vMerge="1">
                  <a:txBody>
                    <a:bodyPr/>
                    <a:lstStyle/>
                    <a:p>
                      <a:endParaRPr lang="zh-CN" altLang="en-US" sz="1600" b="0" kern="1200" baseline="0" dirty="0" smtClean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kern="1200" dirty="0" smtClean="0">
                          <a:latin typeface="微软雅黑" pitchFamily="34" charset="-122"/>
                          <a:ea typeface="微软雅黑" pitchFamily="34" charset="-122"/>
                        </a:rPr>
                        <a:t>TDaysOffset</a:t>
                      </a:r>
                      <a:endParaRPr lang="zh-CN" altLang="en-US" sz="1600" b="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Courier New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dirty="0" smtClean="0">
                          <a:latin typeface="微软雅黑" pitchFamily="34" charset="-122"/>
                          <a:ea typeface="微软雅黑" pitchFamily="34" charset="-122"/>
                        </a:rPr>
                        <a:t>获取某日的前推</a:t>
                      </a:r>
                      <a:r>
                        <a:rPr lang="en-US" altLang="zh-CN" sz="1600" dirty="0" smtClean="0">
                          <a:latin typeface="微软雅黑" pitchFamily="34" charset="-122"/>
                          <a:ea typeface="微软雅黑" pitchFamily="34" charset="-122"/>
                        </a:rPr>
                        <a:t>/</a:t>
                      </a:r>
                      <a:r>
                        <a:rPr lang="zh-CN" altLang="en-US" sz="1600" dirty="0" smtClean="0">
                          <a:latin typeface="微软雅黑" pitchFamily="34" charset="-122"/>
                          <a:ea typeface="微软雅黑" pitchFamily="34" charset="-122"/>
                        </a:rPr>
                        <a:t>后推日期</a:t>
                      </a:r>
                      <a:endParaRPr lang="zh-CN" altLang="en-US" sz="1600" b="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Courier New" pitchFamily="49" charset="0"/>
                      </a:endParaRPr>
                    </a:p>
                  </a:txBody>
                  <a:tcPr/>
                </a:tc>
              </a:tr>
              <a:tr h="275961">
                <a:tc vMerge="1">
                  <a:txBody>
                    <a:bodyPr/>
                    <a:lstStyle/>
                    <a:p>
                      <a:endParaRPr lang="zh-CN" altLang="en-US" sz="1600" b="0" kern="1200" baseline="0" dirty="0" smtClean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altLang="zh-CN" sz="1600" dirty="0" smtClean="0">
                          <a:latin typeface="微软雅黑" pitchFamily="34" charset="-122"/>
                          <a:ea typeface="微软雅黑" pitchFamily="34" charset="-122"/>
                        </a:rPr>
                        <a:t>TDaysCount</a:t>
                      </a:r>
                      <a:endParaRPr lang="zh-CN" altLang="en-US" sz="1600" b="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Courier New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600" b="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Courier New" pitchFamily="49" charset="0"/>
                        </a:rPr>
                        <a:t>指定时间段内的有效天数</a:t>
                      </a:r>
                      <a:endParaRPr lang="zh-CN" altLang="en-US" sz="1600" b="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Courier New" pitchFamily="49" charset="0"/>
                      </a:endParaRPr>
                    </a:p>
                  </a:txBody>
                  <a:tcPr/>
                </a:tc>
              </a:tr>
              <a:tr h="275961">
                <a:tc vMerge="1">
                  <a:txBody>
                    <a:bodyPr/>
                    <a:lstStyle/>
                    <a:p>
                      <a:endParaRPr lang="zh-CN" altLang="en-US" sz="1600" b="0" kern="1200" baseline="0" dirty="0" smtClean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etErrorMs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600" kern="1200" baseline="0" dirty="0" smtClean="0">
                          <a:latin typeface="微软雅黑" pitchFamily="34" charset="-122"/>
                          <a:ea typeface="微软雅黑" pitchFamily="34" charset="-122"/>
                        </a:rPr>
                        <a:t>获取错误码相应的错误信息</a:t>
                      </a:r>
                      <a:endParaRPr lang="zh-CN" altLang="en-US" sz="1600" b="0" kern="1200" baseline="0" dirty="0" smtClean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标题 1"/>
          <p:cNvSpPr txBox="1">
            <a:spLocks/>
          </p:cNvSpPr>
          <p:nvPr/>
        </p:nvSpPr>
        <p:spPr>
          <a:xfrm>
            <a:off x="755576" y="11723"/>
            <a:ext cx="4673680" cy="562074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zh-CN" sz="3200" dirty="0" smtClean="0">
                <a:latin typeface="微软雅黑" pitchFamily="34" charset="-122"/>
                <a:ea typeface="微软雅黑" pitchFamily="34" charset="-122"/>
              </a:rPr>
              <a:t>Wind</a:t>
            </a:r>
            <a:r>
              <a:rPr lang="zh-CN" altLang="en-US" sz="3200" dirty="0" smtClean="0">
                <a:latin typeface="微软雅黑" pitchFamily="34" charset="-122"/>
                <a:ea typeface="微软雅黑" pitchFamily="34" charset="-122"/>
              </a:rPr>
              <a:t>量化数据查询接口</a:t>
            </a:r>
            <a:endParaRPr lang="zh-CN" altLang="en-US" sz="3200" dirty="0"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758270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 txBox="1">
            <a:spLocks/>
          </p:cNvSpPr>
          <p:nvPr/>
        </p:nvSpPr>
        <p:spPr>
          <a:xfrm>
            <a:off x="755576" y="11723"/>
            <a:ext cx="8136904" cy="562074"/>
          </a:xfrm>
          <a:prstGeom prst="rect">
            <a:avLst/>
          </a:prstGeom>
        </p:spPr>
        <p:txBody>
          <a:bodyPr/>
          <a:lstStyle/>
          <a:p>
            <a:r>
              <a:rPr lang="en-US" altLang="zh-CN" sz="3200" dirty="0">
                <a:latin typeface="微软雅黑" pitchFamily="34" charset="-122"/>
                <a:ea typeface="微软雅黑" pitchFamily="34" charset="-122"/>
              </a:rPr>
              <a:t>Wind</a:t>
            </a:r>
            <a:r>
              <a:rPr lang="zh-CN" altLang="en-US" sz="3200" dirty="0">
                <a:latin typeface="微软雅黑" pitchFamily="34" charset="-122"/>
                <a:ea typeface="微软雅黑" pitchFamily="34" charset="-122"/>
              </a:rPr>
              <a:t>量化</a:t>
            </a:r>
            <a:r>
              <a:rPr lang="zh-CN" altLang="en-US" sz="3200" dirty="0" smtClean="0">
                <a:latin typeface="微软雅黑" pitchFamily="34" charset="-122"/>
                <a:ea typeface="微软雅黑" pitchFamily="34" charset="-122"/>
              </a:rPr>
              <a:t>数据定义</a:t>
            </a:r>
            <a:r>
              <a:rPr lang="en-US" altLang="zh-CN" sz="3200" dirty="0" smtClean="0">
                <a:latin typeface="微软雅黑" pitchFamily="34" charset="-122"/>
                <a:ea typeface="微软雅黑" pitchFamily="34" charset="-122"/>
              </a:rPr>
              <a:t>WindData</a:t>
            </a:r>
            <a:endParaRPr lang="zh-CN" altLang="en-US" sz="3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899592" y="4941168"/>
            <a:ext cx="799288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err="1" smtClean="0">
                <a:latin typeface="微软雅黑" pitchFamily="34" charset="-122"/>
                <a:ea typeface="微软雅黑" pitchFamily="34" charset="-122"/>
              </a:rPr>
              <a:t>codeList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：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   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股票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(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债券、基金等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)</a:t>
            </a:r>
            <a:r>
              <a:rPr lang="en-US" altLang="zh-CN" dirty="0" err="1" smtClean="0">
                <a:latin typeface="微软雅黑" pitchFamily="34" charset="-122"/>
                <a:ea typeface="微软雅黑" pitchFamily="34" charset="-122"/>
              </a:rPr>
              <a:t>windCode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列表；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  <a:p>
            <a:r>
              <a:rPr lang="en-US" altLang="zh-CN" dirty="0" err="1" smtClean="0">
                <a:latin typeface="微软雅黑" pitchFamily="34" charset="-122"/>
                <a:ea typeface="微软雅黑" pitchFamily="34" charset="-122"/>
              </a:rPr>
              <a:t>errorCode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： 错误代码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  <a:p>
            <a:r>
              <a:rPr lang="en-US" altLang="zh-CN" dirty="0" err="1" smtClean="0">
                <a:latin typeface="微软雅黑" pitchFamily="34" charset="-122"/>
                <a:ea typeface="微软雅黑" pitchFamily="34" charset="-122"/>
              </a:rPr>
              <a:t>fieldList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：     指标列表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  <a:p>
            <a:r>
              <a:rPr lang="en-US" altLang="zh-CN" dirty="0" err="1" smtClean="0">
                <a:latin typeface="微软雅黑" pitchFamily="34" charset="-122"/>
                <a:ea typeface="微软雅黑" pitchFamily="34" charset="-122"/>
              </a:rPr>
              <a:t>timeList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：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    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时间列表</a:t>
            </a:r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532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3015" y="606192"/>
            <a:ext cx="5328592" cy="4346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14963912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 txBox="1">
            <a:spLocks/>
          </p:cNvSpPr>
          <p:nvPr/>
        </p:nvSpPr>
        <p:spPr>
          <a:xfrm>
            <a:off x="755576" y="11723"/>
            <a:ext cx="8136904" cy="562074"/>
          </a:xfrm>
          <a:prstGeom prst="rect">
            <a:avLst/>
          </a:prstGeom>
        </p:spPr>
        <p:txBody>
          <a:bodyPr/>
          <a:lstStyle/>
          <a:p>
            <a:r>
              <a:rPr lang="en-US" altLang="zh-CN" sz="3200" dirty="0">
                <a:latin typeface="微软雅黑" pitchFamily="34" charset="-122"/>
                <a:ea typeface="微软雅黑" pitchFamily="34" charset="-122"/>
              </a:rPr>
              <a:t>Wind</a:t>
            </a:r>
            <a:r>
              <a:rPr lang="zh-CN" altLang="en-US" sz="3200" dirty="0">
                <a:latin typeface="微软雅黑" pitchFamily="34" charset="-122"/>
                <a:ea typeface="微软雅黑" pitchFamily="34" charset="-122"/>
              </a:rPr>
              <a:t>量化</a:t>
            </a:r>
            <a:r>
              <a:rPr lang="zh-CN" altLang="en-US" sz="3200" dirty="0" smtClean="0">
                <a:latin typeface="微软雅黑" pitchFamily="34" charset="-122"/>
                <a:ea typeface="微软雅黑" pitchFamily="34" charset="-122"/>
              </a:rPr>
              <a:t>数据定义</a:t>
            </a:r>
            <a:r>
              <a:rPr lang="en-US" altLang="zh-CN" sz="3200" dirty="0" smtClean="0">
                <a:latin typeface="微软雅黑" pitchFamily="34" charset="-122"/>
                <a:ea typeface="微软雅黑" pitchFamily="34" charset="-122"/>
              </a:rPr>
              <a:t>WindData</a:t>
            </a:r>
            <a:endParaRPr lang="zh-CN" altLang="en-US" sz="3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899592" y="4967998"/>
            <a:ext cx="799288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data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：三维数组数据  </a:t>
            </a:r>
            <a:r>
              <a:rPr lang="en-US" altLang="zh-CN" dirty="0" err="1" smtClean="0">
                <a:latin typeface="微软雅黑" pitchFamily="34" charset="-122"/>
                <a:ea typeface="微软雅黑" pitchFamily="34" charset="-122"/>
              </a:rPr>
              <a:t>MatrixData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[time][Code][field]</a:t>
            </a:r>
          </a:p>
          <a:p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第一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维：时间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  <a:p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第二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维：</a:t>
            </a:r>
            <a:r>
              <a:rPr lang="en-US" altLang="zh-CN" dirty="0" err="1" smtClean="0">
                <a:latin typeface="微软雅黑" pitchFamily="34" charset="-122"/>
                <a:ea typeface="微软雅黑" pitchFamily="34" charset="-122"/>
              </a:rPr>
              <a:t>windCode</a:t>
            </a:r>
            <a:endParaRPr lang="en-US" altLang="zh-CN" dirty="0">
              <a:latin typeface="微软雅黑" pitchFamily="34" charset="-122"/>
              <a:ea typeface="微软雅黑" pitchFamily="34" charset="-122"/>
            </a:endParaRPr>
          </a:p>
          <a:p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第三维：指标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3015" y="606192"/>
            <a:ext cx="5328592" cy="4346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4197343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 txBox="1">
            <a:spLocks/>
          </p:cNvSpPr>
          <p:nvPr/>
        </p:nvSpPr>
        <p:spPr>
          <a:xfrm>
            <a:off x="755576" y="11723"/>
            <a:ext cx="8136904" cy="562074"/>
          </a:xfrm>
          <a:prstGeom prst="rect">
            <a:avLst/>
          </a:prstGeom>
        </p:spPr>
        <p:txBody>
          <a:bodyPr/>
          <a:lstStyle/>
          <a:p>
            <a:r>
              <a:rPr lang="en-US" altLang="zh-CN" sz="3200" dirty="0">
                <a:latin typeface="微软雅黑" pitchFamily="34" charset="-122"/>
                <a:ea typeface="微软雅黑" pitchFamily="34" charset="-122"/>
              </a:rPr>
              <a:t>Wind</a:t>
            </a:r>
            <a:r>
              <a:rPr lang="zh-CN" altLang="en-US" sz="3200" dirty="0">
                <a:latin typeface="微软雅黑" pitchFamily="34" charset="-122"/>
                <a:ea typeface="微软雅黑" pitchFamily="34" charset="-122"/>
              </a:rPr>
              <a:t>量化</a:t>
            </a:r>
            <a:r>
              <a:rPr lang="zh-CN" altLang="en-US" sz="3200" dirty="0" smtClean="0">
                <a:latin typeface="微软雅黑" pitchFamily="34" charset="-122"/>
                <a:ea typeface="微软雅黑" pitchFamily="34" charset="-122"/>
              </a:rPr>
              <a:t>数据定义</a:t>
            </a:r>
            <a:r>
              <a:rPr lang="en-US" altLang="zh-CN" sz="3200" dirty="0" smtClean="0">
                <a:latin typeface="微软雅黑" pitchFamily="34" charset="-122"/>
                <a:ea typeface="微软雅黑" pitchFamily="34" charset="-122"/>
              </a:rPr>
              <a:t>WindData</a:t>
            </a:r>
            <a:endParaRPr lang="zh-CN" altLang="en-US" sz="3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899592" y="4967998"/>
            <a:ext cx="79928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err="1" smtClean="0">
                <a:latin typeface="微软雅黑" pitchFamily="34" charset="-122"/>
                <a:ea typeface="微软雅黑" pitchFamily="34" charset="-122"/>
              </a:rPr>
              <a:t>getDataByFunc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：传入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API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方法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(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如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:”</a:t>
            </a:r>
            <a:r>
              <a:rPr lang="en-US" altLang="zh-CN" dirty="0" err="1" smtClean="0">
                <a:latin typeface="微软雅黑" pitchFamily="34" charset="-122"/>
                <a:ea typeface="微软雅黑" pitchFamily="34" charset="-122"/>
              </a:rPr>
              <a:t>wsd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”,“</a:t>
            </a:r>
            <a:r>
              <a:rPr lang="en-US" altLang="zh-CN" dirty="0" err="1" smtClean="0">
                <a:latin typeface="微软雅黑" pitchFamily="34" charset="-122"/>
                <a:ea typeface="微软雅黑" pitchFamily="34" charset="-122"/>
              </a:rPr>
              <a:t>wsq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”)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，返回二维的数组，再使用相对便利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3015" y="606192"/>
            <a:ext cx="5328592" cy="4346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2112081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16024" y="692696"/>
            <a:ext cx="9396536" cy="5720576"/>
          </a:xfrm>
          <a:prstGeom prst="rect">
            <a:avLst/>
          </a:prstGeom>
        </p:spPr>
      </p:pic>
      <p:sp>
        <p:nvSpPr>
          <p:cNvPr id="2" name="标题 1"/>
          <p:cNvSpPr txBox="1">
            <a:spLocks/>
          </p:cNvSpPr>
          <p:nvPr/>
        </p:nvSpPr>
        <p:spPr>
          <a:xfrm>
            <a:off x="755576" y="11723"/>
            <a:ext cx="8136904" cy="562074"/>
          </a:xfrm>
          <a:prstGeom prst="rect">
            <a:avLst/>
          </a:prstGeom>
        </p:spPr>
        <p:txBody>
          <a:bodyPr/>
          <a:lstStyle/>
          <a:p>
            <a:r>
              <a:rPr lang="en-US" altLang="zh-CN" sz="3200" dirty="0">
                <a:latin typeface="微软雅黑" pitchFamily="34" charset="-122"/>
                <a:ea typeface="微软雅黑" pitchFamily="34" charset="-122"/>
              </a:rPr>
              <a:t>Wind</a:t>
            </a:r>
            <a:r>
              <a:rPr lang="zh-CN" altLang="en-US" sz="3200" dirty="0">
                <a:latin typeface="微软雅黑" pitchFamily="34" charset="-122"/>
                <a:ea typeface="微软雅黑" pitchFamily="34" charset="-122"/>
              </a:rPr>
              <a:t>量化</a:t>
            </a:r>
            <a:r>
              <a:rPr lang="zh-CN" altLang="en-US" sz="3200" dirty="0" smtClean="0">
                <a:latin typeface="微软雅黑" pitchFamily="34" charset="-122"/>
                <a:ea typeface="微软雅黑" pitchFamily="34" charset="-122"/>
              </a:rPr>
              <a:t>数据定义</a:t>
            </a:r>
            <a:r>
              <a:rPr lang="en-US" altLang="zh-CN" sz="3200" dirty="0" smtClean="0">
                <a:latin typeface="微软雅黑" pitchFamily="34" charset="-122"/>
                <a:ea typeface="微软雅黑" pitchFamily="34" charset="-122"/>
              </a:rPr>
              <a:t>WindData</a:t>
            </a:r>
            <a:endParaRPr lang="zh-CN" altLang="en-US" sz="3200" dirty="0">
              <a:latin typeface="微软雅黑" pitchFamily="34" charset="-122"/>
              <a:ea typeface="微软雅黑" pitchFamily="34" charset="-122"/>
            </a:endParaRPr>
          </a:p>
        </p:txBody>
      </p:sp>
      <p:graphicFrame>
        <p:nvGraphicFramePr>
          <p:cNvPr id="3" name="对象 2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656164906"/>
              </p:ext>
            </p:extLst>
          </p:nvPr>
        </p:nvGraphicFramePr>
        <p:xfrm>
          <a:off x="7164288" y="5661248"/>
          <a:ext cx="1879600" cy="711200"/>
        </p:xfrm>
        <a:graphic>
          <a:graphicData uri="http://schemas.openxmlformats.org/presentationml/2006/ole">
            <p:oleObj spid="_x0000_s49211" name="包装程序外壳对象" showAsIcon="1" r:id="rId4" imgW="1878840" imgH="711360" progId="Package">
              <p:embed/>
            </p:oleObj>
          </a:graphicData>
        </a:graphic>
      </p:graphicFrame>
    </p:spTree>
    <p:extLst>
      <p:ext uri="{BB962C8B-B14F-4D97-AF65-F5344CB8AC3E}">
        <p14:creationId xmlns="" xmlns:p14="http://schemas.microsoft.com/office/powerpoint/2010/main" val="3585268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 txBox="1">
            <a:spLocks/>
          </p:cNvSpPr>
          <p:nvPr/>
        </p:nvSpPr>
        <p:spPr>
          <a:xfrm>
            <a:off x="755575" y="11723"/>
            <a:ext cx="6624737" cy="562074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zh-CN" sz="3200" dirty="0" smtClean="0">
                <a:latin typeface="微软雅黑" pitchFamily="34" charset="-122"/>
                <a:ea typeface="微软雅黑" pitchFamily="34" charset="-122"/>
              </a:rPr>
              <a:t>Wind</a:t>
            </a:r>
            <a:r>
              <a:rPr lang="zh-CN" altLang="en-US" sz="3200" dirty="0" smtClean="0">
                <a:latin typeface="微软雅黑" pitchFamily="34" charset="-122"/>
                <a:ea typeface="微软雅黑" pitchFamily="34" charset="-122"/>
              </a:rPr>
              <a:t>量化数据接口调用模式</a:t>
            </a:r>
            <a:endParaRPr lang="zh-CN" altLang="en-US" sz="3200" dirty="0"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49" name="组合 48"/>
          <p:cNvGrpSpPr/>
          <p:nvPr/>
        </p:nvGrpSpPr>
        <p:grpSpPr>
          <a:xfrm>
            <a:off x="2627784" y="889284"/>
            <a:ext cx="3240360" cy="4556139"/>
            <a:chOff x="1619672" y="799873"/>
            <a:chExt cx="2088232" cy="4789367"/>
          </a:xfrm>
        </p:grpSpPr>
        <p:sp>
          <p:nvSpPr>
            <p:cNvPr id="3" name="矩形 2"/>
            <p:cNvSpPr/>
            <p:nvPr/>
          </p:nvSpPr>
          <p:spPr>
            <a:xfrm>
              <a:off x="1619672" y="1268760"/>
              <a:ext cx="2088232" cy="57606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dirty="0">
                  <a:latin typeface="微软雅黑" pitchFamily="34" charset="-122"/>
                  <a:ea typeface="微软雅黑" pitchFamily="34" charset="-122"/>
                </a:rPr>
                <a:t>业务代码</a:t>
              </a:r>
            </a:p>
          </p:txBody>
        </p:sp>
        <p:sp>
          <p:nvSpPr>
            <p:cNvPr id="5" name="矩形 4"/>
            <p:cNvSpPr/>
            <p:nvPr/>
          </p:nvSpPr>
          <p:spPr>
            <a:xfrm>
              <a:off x="1619672" y="2708920"/>
              <a:ext cx="2088232" cy="88754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dirty="0" smtClean="0">
                  <a:latin typeface="微软雅黑" pitchFamily="34" charset="-122"/>
                  <a:ea typeface="微软雅黑" pitchFamily="34" charset="-122"/>
                </a:rPr>
                <a:t>量化接口函数</a:t>
              </a:r>
              <a:endParaRPr lang="en-US" altLang="zh-CN" dirty="0" smtClean="0">
                <a:latin typeface="微软雅黑" pitchFamily="34" charset="-122"/>
                <a:ea typeface="微软雅黑" pitchFamily="34" charset="-122"/>
              </a:endParaRPr>
            </a:p>
            <a:p>
              <a:pPr algn="ctr"/>
              <a:r>
                <a:rPr lang="en-US" altLang="zh-CN" dirty="0" smtClean="0">
                  <a:latin typeface="微软雅黑" pitchFamily="34" charset="-122"/>
                  <a:ea typeface="微软雅黑" pitchFamily="34" charset="-122"/>
                </a:rPr>
                <a:t>WindCSharp.dll</a:t>
              </a:r>
              <a:endParaRPr lang="zh-CN" altLang="en-US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8" name="矩形 17"/>
            <p:cNvSpPr/>
            <p:nvPr/>
          </p:nvSpPr>
          <p:spPr>
            <a:xfrm>
              <a:off x="1619672" y="4546721"/>
              <a:ext cx="2088232" cy="57606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dirty="0" smtClean="0">
                  <a:latin typeface="微软雅黑" pitchFamily="34" charset="-122"/>
                  <a:ea typeface="微软雅黑" pitchFamily="34" charset="-122"/>
                </a:rPr>
                <a:t>业务代码</a:t>
              </a:r>
              <a:endParaRPr lang="zh-CN" altLang="en-US" dirty="0">
                <a:latin typeface="微软雅黑" pitchFamily="34" charset="-122"/>
                <a:ea typeface="微软雅黑" pitchFamily="34" charset="-122"/>
              </a:endParaRPr>
            </a:p>
          </p:txBody>
        </p:sp>
        <p:cxnSp>
          <p:nvCxnSpPr>
            <p:cNvPr id="22" name="直接箭头连接符 21"/>
            <p:cNvCxnSpPr>
              <a:stCxn id="3" idx="2"/>
              <a:endCxn id="5" idx="0"/>
            </p:cNvCxnSpPr>
            <p:nvPr/>
          </p:nvCxnSpPr>
          <p:spPr>
            <a:xfrm>
              <a:off x="2663788" y="1844824"/>
              <a:ext cx="0" cy="864096"/>
            </a:xfrm>
            <a:prstGeom prst="straightConnector1">
              <a:avLst/>
            </a:prstGeom>
            <a:ln w="19050"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直接箭头连接符 25"/>
            <p:cNvCxnSpPr>
              <a:stCxn id="5" idx="2"/>
              <a:endCxn id="18" idx="0"/>
            </p:cNvCxnSpPr>
            <p:nvPr/>
          </p:nvCxnSpPr>
          <p:spPr>
            <a:xfrm>
              <a:off x="2663788" y="3596462"/>
              <a:ext cx="0" cy="950260"/>
            </a:xfrm>
            <a:prstGeom prst="straightConnector1">
              <a:avLst/>
            </a:prstGeom>
            <a:ln w="19050"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直接箭头连接符 31"/>
            <p:cNvCxnSpPr>
              <a:stCxn id="18" idx="2"/>
            </p:cNvCxnSpPr>
            <p:nvPr/>
          </p:nvCxnSpPr>
          <p:spPr>
            <a:xfrm>
              <a:off x="2663788" y="5122785"/>
              <a:ext cx="0" cy="466455"/>
            </a:xfrm>
            <a:prstGeom prst="straightConnector1">
              <a:avLst/>
            </a:prstGeom>
            <a:ln w="19050"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直接箭头连接符 41"/>
            <p:cNvCxnSpPr>
              <a:endCxn id="3" idx="0"/>
            </p:cNvCxnSpPr>
            <p:nvPr/>
          </p:nvCxnSpPr>
          <p:spPr>
            <a:xfrm>
              <a:off x="2663788" y="799873"/>
              <a:ext cx="0" cy="468887"/>
            </a:xfrm>
            <a:prstGeom prst="straightConnector1">
              <a:avLst/>
            </a:prstGeom>
            <a:ln w="19050"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0" name="TextBox 49"/>
          <p:cNvSpPr txBox="1"/>
          <p:nvPr/>
        </p:nvSpPr>
        <p:spPr>
          <a:xfrm>
            <a:off x="3119282" y="5678651"/>
            <a:ext cx="33843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 smtClean="0">
                <a:latin typeface="微软雅黑" pitchFamily="34" charset="-122"/>
                <a:ea typeface="微软雅黑" pitchFamily="34" charset="-122"/>
              </a:rPr>
              <a:t>C#</a:t>
            </a:r>
            <a:r>
              <a:rPr lang="zh-CN" altLang="en-US" b="1" dirty="0" smtClean="0">
                <a:latin typeface="微软雅黑" pitchFamily="34" charset="-122"/>
                <a:ea typeface="微软雅黑" pitchFamily="34" charset="-122"/>
              </a:rPr>
              <a:t>量化接口同步模式</a:t>
            </a:r>
            <a:endParaRPr lang="zh-CN" altLang="en-US" b="1" dirty="0">
              <a:latin typeface="微软雅黑" pitchFamily="34" charset="-122"/>
              <a:ea typeface="微软雅黑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图示 4"/>
          <p:cNvGraphicFramePr/>
          <p:nvPr>
            <p:extLst>
              <p:ext uri="{D42A27DB-BD31-4B8C-83A1-F6EECF244321}">
                <p14:modId xmlns="" xmlns:p14="http://schemas.microsoft.com/office/powerpoint/2010/main" val="2471076003"/>
              </p:ext>
            </p:extLst>
          </p:nvPr>
        </p:nvGraphicFramePr>
        <p:xfrm>
          <a:off x="1285852" y="1071546"/>
          <a:ext cx="6834214" cy="48180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标题 1"/>
          <p:cNvSpPr txBox="1">
            <a:spLocks/>
          </p:cNvSpPr>
          <p:nvPr/>
        </p:nvSpPr>
        <p:spPr>
          <a:xfrm>
            <a:off x="755576" y="11723"/>
            <a:ext cx="4104456" cy="562074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zh-CN" sz="3200" dirty="0" smtClean="0">
                <a:latin typeface="微软雅黑" pitchFamily="34" charset="-122"/>
                <a:ea typeface="微软雅黑" pitchFamily="34" charset="-122"/>
              </a:rPr>
              <a:t>Wind</a:t>
            </a:r>
            <a:r>
              <a:rPr lang="zh-CN" altLang="en-US" sz="3200" dirty="0" smtClean="0">
                <a:latin typeface="微软雅黑" pitchFamily="34" charset="-122"/>
                <a:ea typeface="微软雅黑" pitchFamily="34" charset="-122"/>
              </a:rPr>
              <a:t>量化平台</a:t>
            </a:r>
          </a:p>
        </p:txBody>
      </p:sp>
    </p:spTree>
    <p:extLst>
      <p:ext uri="{BB962C8B-B14F-4D97-AF65-F5344CB8AC3E}">
        <p14:creationId xmlns="" xmlns:p14="http://schemas.microsoft.com/office/powerpoint/2010/main" val="35813592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/>
          <p:cNvSpPr txBox="1">
            <a:spLocks/>
          </p:cNvSpPr>
          <p:nvPr/>
        </p:nvSpPr>
        <p:spPr>
          <a:xfrm>
            <a:off x="755576" y="11723"/>
            <a:ext cx="8388424" cy="562074"/>
          </a:xfrm>
          <a:prstGeom prst="rect">
            <a:avLst/>
          </a:prstGeom>
        </p:spPr>
        <p:txBody>
          <a:bodyPr/>
          <a:lstStyle/>
          <a:p>
            <a:pPr lvl="0">
              <a:spcBef>
                <a:spcPct val="0"/>
              </a:spcBef>
            </a:pPr>
            <a:r>
              <a:rPr lang="zh-CN" altLang="en-US" sz="3200" dirty="0" smtClean="0">
                <a:latin typeface="微软雅黑" pitchFamily="34" charset="-122"/>
                <a:ea typeface="微软雅黑" pitchFamily="34" charset="-122"/>
                <a:cs typeface="+mj-cs"/>
              </a:rPr>
              <a:t>循序渐进</a:t>
            </a:r>
            <a:r>
              <a:rPr lang="en-US" altLang="zh-CN" sz="3200" dirty="0" smtClean="0">
                <a:latin typeface="微软雅黑" pitchFamily="34" charset="-122"/>
                <a:ea typeface="微软雅黑" pitchFamily="34" charset="-122"/>
                <a:cs typeface="+mj-cs"/>
              </a:rPr>
              <a:t>-1</a:t>
            </a:r>
            <a:r>
              <a:rPr lang="zh-CN" altLang="en-US" sz="3200" dirty="0" smtClean="0">
                <a:latin typeface="微软雅黑" pitchFamily="34" charset="-122"/>
                <a:ea typeface="微软雅黑" pitchFamily="34" charset="-122"/>
                <a:cs typeface="+mj-cs"/>
              </a:rPr>
              <a:t>：运行程序，用</a:t>
            </a: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j-cs"/>
              </a:rPr>
              <a:t>WSET</a:t>
            </a:r>
            <a:r>
              <a:rPr kumimoji="0" lang="zh-CN" alt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j-cs"/>
              </a:rPr>
              <a:t>取指数成分</a:t>
            </a:r>
            <a:endParaRPr lang="zh-CN" altLang="en-US" sz="3200" dirty="0">
              <a:latin typeface="微软雅黑" pitchFamily="34" charset="-122"/>
              <a:ea typeface="微软雅黑" pitchFamily="34" charset="-122"/>
              <a:cs typeface="+mj-cs"/>
            </a:endParaRPr>
          </a:p>
        </p:txBody>
      </p:sp>
      <p:pic>
        <p:nvPicPr>
          <p:cNvPr id="563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639" y="713833"/>
            <a:ext cx="6328395" cy="57395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1"/>
          <p:cNvSpPr txBox="1">
            <a:spLocks/>
          </p:cNvSpPr>
          <p:nvPr/>
        </p:nvSpPr>
        <p:spPr>
          <a:xfrm>
            <a:off x="755576" y="11723"/>
            <a:ext cx="8388424" cy="562074"/>
          </a:xfrm>
          <a:prstGeom prst="rect">
            <a:avLst/>
          </a:prstGeom>
        </p:spPr>
        <p:txBody>
          <a:bodyPr/>
          <a:lstStyle/>
          <a:p>
            <a:pPr lvl="0">
              <a:spcBef>
                <a:spcPct val="0"/>
              </a:spcBef>
            </a:pPr>
            <a:r>
              <a:rPr lang="zh-CN" altLang="en-US" sz="3200" dirty="0" smtClean="0">
                <a:latin typeface="微软雅黑" pitchFamily="34" charset="-122"/>
                <a:ea typeface="微软雅黑" pitchFamily="34" charset="-122"/>
                <a:cs typeface="+mj-cs"/>
              </a:rPr>
              <a:t>循序渐进</a:t>
            </a:r>
            <a:r>
              <a:rPr lang="en-US" altLang="zh-CN" sz="3200" dirty="0" smtClean="0">
                <a:latin typeface="微软雅黑" pitchFamily="34" charset="-122"/>
                <a:ea typeface="微软雅黑" pitchFamily="34" charset="-122"/>
                <a:cs typeface="+mj-cs"/>
              </a:rPr>
              <a:t>-1</a:t>
            </a:r>
            <a:r>
              <a:rPr lang="zh-CN" altLang="en-US" sz="3200" dirty="0" smtClean="0">
                <a:latin typeface="微软雅黑" pitchFamily="34" charset="-122"/>
                <a:ea typeface="微软雅黑" pitchFamily="34" charset="-122"/>
                <a:cs typeface="+mj-cs"/>
              </a:rPr>
              <a:t>：运行程序，</a:t>
            </a:r>
            <a:r>
              <a:rPr lang="zh-CN" altLang="en-US" sz="3200" dirty="0" smtClean="0">
                <a:latin typeface="微软雅黑" pitchFamily="34" charset="-122"/>
                <a:ea typeface="微软雅黑" pitchFamily="34" charset="-122"/>
              </a:rPr>
              <a:t>用</a:t>
            </a:r>
            <a:r>
              <a:rPr lang="en-US" altLang="zh-CN" sz="3200" dirty="0" smtClean="0">
                <a:latin typeface="微软雅黑" pitchFamily="34" charset="-122"/>
                <a:ea typeface="微软雅黑" pitchFamily="34" charset="-122"/>
              </a:rPr>
              <a:t>WSET</a:t>
            </a:r>
            <a:r>
              <a:rPr lang="zh-CN" altLang="en-US" sz="3200" dirty="0" smtClean="0">
                <a:latin typeface="微软雅黑" pitchFamily="34" charset="-122"/>
                <a:ea typeface="微软雅黑" pitchFamily="34" charset="-122"/>
              </a:rPr>
              <a:t>取指数成分</a:t>
            </a:r>
            <a:endParaRPr lang="zh-CN" altLang="en-US" sz="3200" dirty="0">
              <a:latin typeface="微软雅黑" pitchFamily="34" charset="-122"/>
              <a:ea typeface="微软雅黑" pitchFamily="34" charset="-122"/>
              <a:cs typeface="+mj-cs"/>
            </a:endParaRPr>
          </a:p>
        </p:txBody>
      </p:sp>
      <p:pic>
        <p:nvPicPr>
          <p:cNvPr id="552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6744" y="692696"/>
            <a:ext cx="5682010" cy="56987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标题 1"/>
          <p:cNvSpPr txBox="1">
            <a:spLocks/>
          </p:cNvSpPr>
          <p:nvPr/>
        </p:nvSpPr>
        <p:spPr>
          <a:xfrm>
            <a:off x="755576" y="11723"/>
            <a:ext cx="8174142" cy="562074"/>
          </a:xfrm>
          <a:prstGeom prst="rect">
            <a:avLst/>
          </a:prstGeom>
        </p:spPr>
        <p:txBody>
          <a:bodyPr/>
          <a:lstStyle/>
          <a:p>
            <a:pPr lvl="0">
              <a:spcBef>
                <a:spcPct val="0"/>
              </a:spcBef>
            </a:pPr>
            <a:r>
              <a:rPr lang="zh-CN" altLang="en-US" sz="3200" dirty="0" smtClean="0">
                <a:latin typeface="微软雅黑" pitchFamily="34" charset="-122"/>
                <a:ea typeface="微软雅黑" pitchFamily="34" charset="-122"/>
                <a:cs typeface="+mj-cs"/>
              </a:rPr>
              <a:t>循序渐进</a:t>
            </a:r>
            <a:r>
              <a:rPr lang="en-US" altLang="zh-CN" sz="3200" dirty="0" smtClean="0">
                <a:latin typeface="微软雅黑" pitchFamily="34" charset="-122"/>
                <a:ea typeface="微软雅黑" pitchFamily="34" charset="-122"/>
                <a:cs typeface="+mj-cs"/>
              </a:rPr>
              <a:t>-2</a:t>
            </a:r>
            <a:r>
              <a:rPr lang="zh-CN" altLang="en-US" sz="3200" dirty="0" smtClean="0">
                <a:latin typeface="微软雅黑" pitchFamily="34" charset="-122"/>
                <a:ea typeface="微软雅黑" pitchFamily="34" charset="-122"/>
                <a:cs typeface="+mj-cs"/>
              </a:rPr>
              <a:t>：学会使用命令生成器</a:t>
            </a:r>
            <a:endParaRPr lang="zh-CN" altLang="en-US" sz="3200" dirty="0">
              <a:latin typeface="微软雅黑" pitchFamily="34" charset="-122"/>
              <a:ea typeface="微软雅黑" pitchFamily="34" charset="-122"/>
              <a:cs typeface="+mj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00034" y="876473"/>
            <a:ext cx="79296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dirty="0" smtClean="0"/>
              <a:t>C:\Wind\Wind.NET.Client\WindNET\bin\</a:t>
            </a:r>
            <a:r>
              <a:rPr lang="en-US" altLang="zh-CN" sz="2400" dirty="0" smtClean="0">
                <a:solidFill>
                  <a:srgbClr val="FF0000"/>
                </a:solidFill>
              </a:rPr>
              <a:t>WindNavigator.exe</a:t>
            </a:r>
            <a:endParaRPr lang="zh-CN" altLang="en-US" sz="2400" dirty="0">
              <a:solidFill>
                <a:srgbClr val="FF0000"/>
              </a:solidFill>
            </a:endParaRPr>
          </a:p>
        </p:txBody>
      </p:sp>
      <p:graphicFrame>
        <p:nvGraphicFramePr>
          <p:cNvPr id="3" name="图示 2"/>
          <p:cNvGraphicFramePr/>
          <p:nvPr>
            <p:extLst>
              <p:ext uri="{D42A27DB-BD31-4B8C-83A1-F6EECF244321}">
                <p14:modId xmlns="" xmlns:p14="http://schemas.microsoft.com/office/powerpoint/2010/main" val="1008903459"/>
              </p:ext>
            </p:extLst>
          </p:nvPr>
        </p:nvGraphicFramePr>
        <p:xfrm>
          <a:off x="518315" y="1916832"/>
          <a:ext cx="8064896" cy="35283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 txBox="1">
            <a:spLocks/>
          </p:cNvSpPr>
          <p:nvPr/>
        </p:nvSpPr>
        <p:spPr>
          <a:xfrm>
            <a:off x="755576" y="11723"/>
            <a:ext cx="8136904" cy="562074"/>
          </a:xfrm>
          <a:prstGeom prst="rect">
            <a:avLst/>
          </a:prstGeom>
        </p:spPr>
        <p:txBody>
          <a:bodyPr/>
          <a:lstStyle/>
          <a:p>
            <a:pPr lvl="0">
              <a:spcBef>
                <a:spcPct val="0"/>
              </a:spcBef>
            </a:pPr>
            <a:r>
              <a:rPr kumimoji="0" lang="zh-CN" alt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j-cs"/>
              </a:rPr>
              <a:t>命令生成器</a:t>
            </a: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j-cs"/>
              </a:rPr>
              <a:t>:</a:t>
            </a:r>
            <a:r>
              <a:rPr kumimoji="0" lang="zh-CN" alt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j-cs"/>
              </a:rPr>
              <a:t>快速查找指标，生成</a:t>
            </a:r>
            <a:r>
              <a:rPr lang="zh-CN" altLang="en-US" sz="3200" dirty="0" smtClean="0">
                <a:latin typeface="微软雅黑" pitchFamily="34" charset="-122"/>
                <a:ea typeface="微软雅黑" pitchFamily="34" charset="-122"/>
                <a:cs typeface="+mj-cs"/>
              </a:rPr>
              <a:t>正确代码</a:t>
            </a:r>
            <a:endParaRPr kumimoji="0" lang="zh-CN" altLang="en-US" sz="3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j-cs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00034" y="642918"/>
            <a:ext cx="79296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/>
              <a:t>C:\Wind\Wind.NET.Client\WindNET\bin\</a:t>
            </a:r>
            <a:r>
              <a:rPr lang="en-US" altLang="zh-CN" dirty="0" smtClean="0">
                <a:solidFill>
                  <a:srgbClr val="FF0000"/>
                </a:solidFill>
              </a:rPr>
              <a:t>WindNavigator.exe</a:t>
            </a:r>
            <a:endParaRPr lang="zh-CN" altLang="en-US" dirty="0">
              <a:solidFill>
                <a:srgbClr val="FF0000"/>
              </a:solidFill>
            </a:endParaRPr>
          </a:p>
        </p:txBody>
      </p:sp>
      <p:pic>
        <p:nvPicPr>
          <p:cNvPr id="4915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592" y="1107305"/>
            <a:ext cx="7056784" cy="52741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3" name="直接箭头连接符 12"/>
          <p:cNvCxnSpPr/>
          <p:nvPr/>
        </p:nvCxnSpPr>
        <p:spPr>
          <a:xfrm flipV="1">
            <a:off x="6012160" y="1700808"/>
            <a:ext cx="936104" cy="936105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6485039" y="1358787"/>
            <a:ext cx="12776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导航栏</a:t>
            </a:r>
            <a:endParaRPr lang="zh-CN" altLang="en-US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491880" y="5109867"/>
            <a:ext cx="16858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结果展示区</a:t>
            </a:r>
            <a:endParaRPr lang="zh-CN" altLang="en-US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491880" y="3567358"/>
            <a:ext cx="16858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命令</a:t>
            </a:r>
            <a:r>
              <a:rPr lang="zh-CN" altLang="en-US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生成区</a:t>
            </a:r>
            <a:endParaRPr lang="zh-CN" altLang="en-US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1034789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 txBox="1">
            <a:spLocks/>
          </p:cNvSpPr>
          <p:nvPr/>
        </p:nvSpPr>
        <p:spPr>
          <a:xfrm>
            <a:off x="755576" y="11723"/>
            <a:ext cx="8136904" cy="562074"/>
          </a:xfrm>
          <a:prstGeom prst="rect">
            <a:avLst/>
          </a:prstGeom>
        </p:spPr>
        <p:txBody>
          <a:bodyPr/>
          <a:lstStyle/>
          <a:p>
            <a:pPr lvl="0">
              <a:spcBef>
                <a:spcPct val="0"/>
              </a:spcBef>
            </a:pPr>
            <a:r>
              <a:rPr kumimoji="0" lang="zh-CN" alt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j-cs"/>
              </a:rPr>
              <a:t>命令生成器</a:t>
            </a: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j-cs"/>
              </a:rPr>
              <a:t>:</a:t>
            </a:r>
            <a:r>
              <a:rPr kumimoji="0" lang="zh-CN" alt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j-cs"/>
              </a:rPr>
              <a:t>快速查找指标，生成</a:t>
            </a: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j-cs"/>
              </a:rPr>
              <a:t>C</a:t>
            </a:r>
            <a:r>
              <a:rPr lang="en-US" altLang="zh-CN" sz="3200" dirty="0" smtClean="0">
                <a:latin typeface="微软雅黑" pitchFamily="34" charset="-122"/>
                <a:ea typeface="微软雅黑" pitchFamily="34" charset="-122"/>
                <a:cs typeface="+mj-cs"/>
              </a:rPr>
              <a:t>#</a:t>
            </a:r>
            <a:r>
              <a:rPr lang="zh-CN" altLang="en-US" sz="3200" dirty="0" smtClean="0">
                <a:latin typeface="微软雅黑" pitchFamily="34" charset="-122"/>
                <a:ea typeface="微软雅黑" pitchFamily="34" charset="-122"/>
                <a:cs typeface="+mj-cs"/>
              </a:rPr>
              <a:t>代码</a:t>
            </a:r>
            <a:endParaRPr kumimoji="0" lang="zh-CN" altLang="en-US" sz="3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j-cs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00034" y="642918"/>
            <a:ext cx="79296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1.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点击导航栏</a:t>
            </a: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，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选择</a:t>
            </a:r>
            <a:r>
              <a:rPr lang="en-US" altLang="zh-CN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WSD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,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输入目标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Code</a:t>
            </a:r>
            <a:endParaRPr lang="en-US" altLang="zh-CN" dirty="0" smtClean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5017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046" y="1012250"/>
            <a:ext cx="7252370" cy="54185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矩形 6"/>
          <p:cNvSpPr/>
          <p:nvPr/>
        </p:nvSpPr>
        <p:spPr>
          <a:xfrm>
            <a:off x="3275856" y="1410150"/>
            <a:ext cx="360040" cy="36266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8" name="直接箭头连接符 7"/>
          <p:cNvCxnSpPr/>
          <p:nvPr/>
        </p:nvCxnSpPr>
        <p:spPr>
          <a:xfrm flipH="1">
            <a:off x="3470143" y="1775442"/>
            <a:ext cx="794" cy="357414"/>
          </a:xfrm>
          <a:prstGeom prst="straightConnector1">
            <a:avLst/>
          </a:prstGeom>
          <a:ln w="190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7631916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 txBox="1">
            <a:spLocks/>
          </p:cNvSpPr>
          <p:nvPr/>
        </p:nvSpPr>
        <p:spPr>
          <a:xfrm>
            <a:off x="755576" y="11723"/>
            <a:ext cx="8136904" cy="562074"/>
          </a:xfrm>
          <a:prstGeom prst="rect">
            <a:avLst/>
          </a:prstGeom>
        </p:spPr>
        <p:txBody>
          <a:bodyPr/>
          <a:lstStyle/>
          <a:p>
            <a:pPr lvl="0">
              <a:spcBef>
                <a:spcPct val="0"/>
              </a:spcBef>
            </a:pPr>
            <a:r>
              <a:rPr kumimoji="0" lang="zh-CN" alt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j-cs"/>
              </a:rPr>
              <a:t>命令生成器</a:t>
            </a: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j-cs"/>
              </a:rPr>
              <a:t>:</a:t>
            </a:r>
            <a:r>
              <a:rPr kumimoji="0" lang="zh-CN" alt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j-cs"/>
              </a:rPr>
              <a:t>快速查找指标，生成</a:t>
            </a: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j-cs"/>
              </a:rPr>
              <a:t>C</a:t>
            </a:r>
            <a:r>
              <a:rPr lang="en-US" altLang="zh-CN" sz="3200" dirty="0" smtClean="0">
                <a:latin typeface="微软雅黑" pitchFamily="34" charset="-122"/>
                <a:ea typeface="微软雅黑" pitchFamily="34" charset="-122"/>
                <a:cs typeface="+mj-cs"/>
              </a:rPr>
              <a:t>#</a:t>
            </a:r>
            <a:r>
              <a:rPr lang="zh-CN" altLang="en-US" sz="3200" dirty="0" smtClean="0">
                <a:latin typeface="微软雅黑" pitchFamily="34" charset="-122"/>
                <a:ea typeface="微软雅黑" pitchFamily="34" charset="-122"/>
                <a:cs typeface="+mj-cs"/>
              </a:rPr>
              <a:t>代码</a:t>
            </a:r>
            <a:endParaRPr kumimoji="0" lang="zh-CN" altLang="en-US" sz="3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j-cs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00034" y="642918"/>
            <a:ext cx="79296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2.</a:t>
            </a:r>
            <a:r>
              <a:rPr lang="zh-CN" altLang="en-US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添加指标</a:t>
            </a:r>
            <a:endParaRPr lang="en-US" altLang="zh-CN" dirty="0" smtClean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5120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8343" y="991363"/>
            <a:ext cx="7228073" cy="54097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2658987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 txBox="1">
            <a:spLocks/>
          </p:cNvSpPr>
          <p:nvPr/>
        </p:nvSpPr>
        <p:spPr>
          <a:xfrm>
            <a:off x="755576" y="11723"/>
            <a:ext cx="8136904" cy="562074"/>
          </a:xfrm>
          <a:prstGeom prst="rect">
            <a:avLst/>
          </a:prstGeom>
        </p:spPr>
        <p:txBody>
          <a:bodyPr/>
          <a:lstStyle/>
          <a:p>
            <a:pPr lvl="0">
              <a:spcBef>
                <a:spcPct val="0"/>
              </a:spcBef>
            </a:pPr>
            <a:r>
              <a:rPr kumimoji="0" lang="zh-CN" alt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j-cs"/>
              </a:rPr>
              <a:t>命令生成器</a:t>
            </a: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j-cs"/>
              </a:rPr>
              <a:t>:</a:t>
            </a:r>
            <a:r>
              <a:rPr kumimoji="0" lang="zh-CN" alt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j-cs"/>
              </a:rPr>
              <a:t>快速查找指标，生成</a:t>
            </a: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j-cs"/>
              </a:rPr>
              <a:t>C</a:t>
            </a:r>
            <a:r>
              <a:rPr lang="en-US" altLang="zh-CN" sz="3200" dirty="0" smtClean="0">
                <a:latin typeface="微软雅黑" pitchFamily="34" charset="-122"/>
                <a:ea typeface="微软雅黑" pitchFamily="34" charset="-122"/>
                <a:cs typeface="+mj-cs"/>
              </a:rPr>
              <a:t>#</a:t>
            </a:r>
            <a:r>
              <a:rPr lang="zh-CN" altLang="en-US" sz="3200" dirty="0" smtClean="0">
                <a:latin typeface="微软雅黑" pitchFamily="34" charset="-122"/>
                <a:ea typeface="微软雅黑" pitchFamily="34" charset="-122"/>
                <a:cs typeface="+mj-cs"/>
              </a:rPr>
              <a:t>代码</a:t>
            </a:r>
            <a:endParaRPr kumimoji="0" lang="zh-CN" altLang="en-US" sz="3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j-cs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00034" y="642918"/>
            <a:ext cx="79296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3.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设置时间</a:t>
            </a:r>
            <a:endParaRPr lang="en-US" altLang="zh-CN" dirty="0" smtClean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522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2716" y="1012251"/>
            <a:ext cx="7203700" cy="53690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4252843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 txBox="1">
            <a:spLocks/>
          </p:cNvSpPr>
          <p:nvPr/>
        </p:nvSpPr>
        <p:spPr>
          <a:xfrm>
            <a:off x="755576" y="11723"/>
            <a:ext cx="8136904" cy="562074"/>
          </a:xfrm>
          <a:prstGeom prst="rect">
            <a:avLst/>
          </a:prstGeom>
        </p:spPr>
        <p:txBody>
          <a:bodyPr/>
          <a:lstStyle/>
          <a:p>
            <a:pPr lvl="0">
              <a:spcBef>
                <a:spcPct val="0"/>
              </a:spcBef>
            </a:pPr>
            <a:r>
              <a:rPr kumimoji="0" lang="zh-CN" alt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j-cs"/>
              </a:rPr>
              <a:t>命令生成器</a:t>
            </a: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j-cs"/>
              </a:rPr>
              <a:t>:</a:t>
            </a:r>
            <a:r>
              <a:rPr kumimoji="0" lang="zh-CN" alt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j-cs"/>
              </a:rPr>
              <a:t>快速查找指标，生成</a:t>
            </a: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j-cs"/>
              </a:rPr>
              <a:t>C</a:t>
            </a:r>
            <a:r>
              <a:rPr lang="en-US" altLang="zh-CN" sz="3200" dirty="0" smtClean="0">
                <a:latin typeface="微软雅黑" pitchFamily="34" charset="-122"/>
                <a:ea typeface="微软雅黑" pitchFamily="34" charset="-122"/>
                <a:cs typeface="+mj-cs"/>
              </a:rPr>
              <a:t>#</a:t>
            </a:r>
            <a:r>
              <a:rPr lang="zh-CN" altLang="en-US" sz="3200" dirty="0" smtClean="0">
                <a:latin typeface="微软雅黑" pitchFamily="34" charset="-122"/>
                <a:ea typeface="微软雅黑" pitchFamily="34" charset="-122"/>
                <a:cs typeface="+mj-cs"/>
              </a:rPr>
              <a:t>代码</a:t>
            </a:r>
            <a:endParaRPr kumimoji="0" lang="zh-CN" altLang="en-US" sz="3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j-cs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00034" y="642918"/>
            <a:ext cx="79296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4.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参数设置</a:t>
            </a:r>
            <a:endParaRPr lang="en-US" altLang="zh-CN" dirty="0" smtClean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532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4848" y="980728"/>
            <a:ext cx="7256113" cy="54005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25091581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3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8406" y="1040358"/>
            <a:ext cx="6953994" cy="54129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标题 1"/>
          <p:cNvSpPr txBox="1">
            <a:spLocks/>
          </p:cNvSpPr>
          <p:nvPr/>
        </p:nvSpPr>
        <p:spPr>
          <a:xfrm>
            <a:off x="755576" y="11723"/>
            <a:ext cx="8136904" cy="562074"/>
          </a:xfrm>
          <a:prstGeom prst="rect">
            <a:avLst/>
          </a:prstGeom>
        </p:spPr>
        <p:txBody>
          <a:bodyPr/>
          <a:lstStyle/>
          <a:p>
            <a:pPr lvl="0">
              <a:spcBef>
                <a:spcPct val="0"/>
              </a:spcBef>
            </a:pPr>
            <a:r>
              <a:rPr kumimoji="0" lang="zh-CN" alt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j-cs"/>
              </a:rPr>
              <a:t>命令生成器</a:t>
            </a: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j-cs"/>
              </a:rPr>
              <a:t>:</a:t>
            </a:r>
            <a:r>
              <a:rPr kumimoji="0" lang="zh-CN" alt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j-cs"/>
              </a:rPr>
              <a:t>快速查找指标，生成</a:t>
            </a: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j-cs"/>
              </a:rPr>
              <a:t>C</a:t>
            </a:r>
            <a:r>
              <a:rPr lang="en-US" altLang="zh-CN" sz="3200" dirty="0" smtClean="0">
                <a:latin typeface="微软雅黑" pitchFamily="34" charset="-122"/>
                <a:ea typeface="微软雅黑" pitchFamily="34" charset="-122"/>
                <a:cs typeface="+mj-cs"/>
              </a:rPr>
              <a:t>#</a:t>
            </a:r>
            <a:r>
              <a:rPr lang="zh-CN" altLang="en-US" sz="3200" dirty="0" smtClean="0">
                <a:latin typeface="微软雅黑" pitchFamily="34" charset="-122"/>
                <a:ea typeface="微软雅黑" pitchFamily="34" charset="-122"/>
                <a:cs typeface="+mj-cs"/>
              </a:rPr>
              <a:t>代码</a:t>
            </a:r>
            <a:endParaRPr kumimoji="0" lang="zh-CN" altLang="en-US" sz="3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j-cs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00034" y="642918"/>
            <a:ext cx="79296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生成可执行代码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3" name="组合 2"/>
          <p:cNvGrpSpPr/>
          <p:nvPr/>
        </p:nvGrpSpPr>
        <p:grpSpPr>
          <a:xfrm>
            <a:off x="5906611" y="5278968"/>
            <a:ext cx="2060090" cy="369332"/>
            <a:chOff x="5906611" y="5278968"/>
            <a:chExt cx="2060090" cy="369332"/>
          </a:xfrm>
        </p:grpSpPr>
        <p:sp>
          <p:nvSpPr>
            <p:cNvPr id="7" name="TextBox 6"/>
            <p:cNvSpPr txBox="1"/>
            <p:nvPr/>
          </p:nvSpPr>
          <p:spPr>
            <a:xfrm>
              <a:off x="6280898" y="5278968"/>
              <a:ext cx="168580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 smtClean="0">
                  <a:solidFill>
                    <a:srgbClr val="FF0000"/>
                  </a:solidFill>
                  <a:latin typeface="微软雅黑" pitchFamily="34" charset="-122"/>
                  <a:ea typeface="微软雅黑" pitchFamily="34" charset="-122"/>
                </a:rPr>
                <a:t>取到的数据</a:t>
              </a:r>
              <a:endParaRPr lang="zh-CN" altLang="en-US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cxnSp>
          <p:nvCxnSpPr>
            <p:cNvPr id="8" name="直接箭头连接符 7"/>
            <p:cNvCxnSpPr/>
            <p:nvPr/>
          </p:nvCxnSpPr>
          <p:spPr>
            <a:xfrm>
              <a:off x="5906611" y="5463634"/>
              <a:ext cx="404593" cy="0"/>
            </a:xfrm>
            <a:prstGeom prst="straightConnector1">
              <a:avLst/>
            </a:prstGeom>
            <a:ln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组合 5"/>
          <p:cNvGrpSpPr/>
          <p:nvPr/>
        </p:nvGrpSpPr>
        <p:grpSpPr>
          <a:xfrm>
            <a:off x="3621941" y="2708920"/>
            <a:ext cx="1685803" cy="959644"/>
            <a:chOff x="3621941" y="2708920"/>
            <a:chExt cx="1685803" cy="959644"/>
          </a:xfrm>
        </p:grpSpPr>
        <p:cxnSp>
          <p:nvCxnSpPr>
            <p:cNvPr id="10" name="直接箭头连接符 9"/>
            <p:cNvCxnSpPr/>
            <p:nvPr/>
          </p:nvCxnSpPr>
          <p:spPr>
            <a:xfrm>
              <a:off x="3923928" y="2708920"/>
              <a:ext cx="288032" cy="504056"/>
            </a:xfrm>
            <a:prstGeom prst="straightConnector1">
              <a:avLst/>
            </a:prstGeom>
            <a:ln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Box 10"/>
            <p:cNvSpPr txBox="1"/>
            <p:nvPr/>
          </p:nvSpPr>
          <p:spPr>
            <a:xfrm>
              <a:off x="3621941" y="3299232"/>
              <a:ext cx="168580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 smtClean="0">
                  <a:solidFill>
                    <a:srgbClr val="FF0000"/>
                  </a:solidFill>
                  <a:latin typeface="微软雅黑" pitchFamily="34" charset="-122"/>
                  <a:ea typeface="微软雅黑" pitchFamily="34" charset="-122"/>
                </a:rPr>
                <a:t>生成的命令</a:t>
              </a:r>
              <a:endParaRPr lang="zh-CN" altLang="en-US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val="4718723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 txBox="1">
            <a:spLocks/>
          </p:cNvSpPr>
          <p:nvPr/>
        </p:nvSpPr>
        <p:spPr>
          <a:xfrm>
            <a:off x="755576" y="11723"/>
            <a:ext cx="8136904" cy="562074"/>
          </a:xfrm>
          <a:prstGeom prst="rect">
            <a:avLst/>
          </a:prstGeom>
        </p:spPr>
        <p:txBody>
          <a:bodyPr/>
          <a:lstStyle/>
          <a:p>
            <a:pPr lvl="0">
              <a:spcBef>
                <a:spcPct val="0"/>
              </a:spcBef>
            </a:pPr>
            <a:r>
              <a:rPr kumimoji="0" lang="zh-CN" alt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j-cs"/>
              </a:rPr>
              <a:t>命令生成器</a:t>
            </a: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j-cs"/>
              </a:rPr>
              <a:t>:</a:t>
            </a:r>
            <a:r>
              <a:rPr lang="zh-CN" altLang="en-US" sz="3200" dirty="0">
                <a:latin typeface="微软雅黑" pitchFamily="34" charset="-122"/>
                <a:ea typeface="微软雅黑" pitchFamily="34" charset="-122"/>
              </a:rPr>
              <a:t>使用练习</a:t>
            </a:r>
            <a:endParaRPr kumimoji="0" lang="zh-CN" altLang="en-US" sz="3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j-cs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768946" y="1556792"/>
            <a:ext cx="79296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1.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查找今天的停牌股票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755576" y="3019018"/>
            <a:ext cx="79296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2.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取浦发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银行最近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一个月的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MACD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（指数平滑异同平均线）指标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9065082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云形 7"/>
          <p:cNvSpPr/>
          <p:nvPr/>
        </p:nvSpPr>
        <p:spPr>
          <a:xfrm>
            <a:off x="642910" y="2214554"/>
            <a:ext cx="2071702" cy="1428760"/>
          </a:xfrm>
          <a:prstGeom prst="cloud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数据</a:t>
            </a:r>
            <a:endParaRPr lang="zh-CN" altLang="en-US" dirty="0"/>
          </a:p>
        </p:txBody>
      </p:sp>
      <p:sp>
        <p:nvSpPr>
          <p:cNvPr id="10" name="云形 9"/>
          <p:cNvSpPr/>
          <p:nvPr/>
        </p:nvSpPr>
        <p:spPr>
          <a:xfrm>
            <a:off x="6500826" y="2214554"/>
            <a:ext cx="2071702" cy="1428760"/>
          </a:xfrm>
          <a:prstGeom prst="cloud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交易</a:t>
            </a:r>
          </a:p>
        </p:txBody>
      </p:sp>
      <p:sp>
        <p:nvSpPr>
          <p:cNvPr id="11" name="云形 10"/>
          <p:cNvSpPr/>
          <p:nvPr/>
        </p:nvSpPr>
        <p:spPr>
          <a:xfrm>
            <a:off x="3571868" y="2214554"/>
            <a:ext cx="2071702" cy="1428760"/>
          </a:xfrm>
          <a:prstGeom prst="cloud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策略</a:t>
            </a:r>
            <a:endParaRPr lang="zh-CN" alt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3857620" y="4357694"/>
            <a:ext cx="164307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Wingdings" pitchFamily="2" charset="2"/>
              <a:buChar char="ü"/>
            </a:pP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量化核心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buFont typeface="Wingdings" pitchFamily="2" charset="2"/>
              <a:buChar char="ü"/>
            </a:pP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客户机密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buFont typeface="Wingdings" pitchFamily="2" charset="2"/>
              <a:buChar char="ü"/>
            </a:pP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本地最安全</a:t>
            </a:r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500826" y="4357694"/>
            <a:ext cx="250033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Wingdings" pitchFamily="2" charset="2"/>
              <a:buChar char="ü"/>
            </a:pP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公共需求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buFont typeface="Wingdings" pitchFamily="2" charset="2"/>
              <a:buChar char="ü"/>
            </a:pP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直接到柜台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buFont typeface="Wingdings" pitchFamily="2" charset="2"/>
              <a:buChar char="ü"/>
            </a:pP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不经过软件商服务器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00034" y="4357694"/>
            <a:ext cx="292895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Wingdings" pitchFamily="2" charset="2"/>
              <a:buChar char="ü"/>
            </a:pP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公共需求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buFont typeface="Wingdings" pitchFamily="2" charset="2"/>
              <a:buChar char="ü"/>
            </a:pP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历史数据要求全面、准确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buFont typeface="Wingdings" pitchFamily="2" charset="2"/>
              <a:buChar char="ü"/>
            </a:pP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实时数据要求速度快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4" name="右箭头 13"/>
          <p:cNvSpPr/>
          <p:nvPr/>
        </p:nvSpPr>
        <p:spPr>
          <a:xfrm>
            <a:off x="2786051" y="2786058"/>
            <a:ext cx="714380" cy="214313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1400" b="0">
              <a:ea typeface="华文细黑" pitchFamily="2" charset="-122"/>
            </a:endParaRPr>
          </a:p>
        </p:txBody>
      </p:sp>
      <p:sp>
        <p:nvSpPr>
          <p:cNvPr id="15" name="右箭头 14"/>
          <p:cNvSpPr/>
          <p:nvPr/>
        </p:nvSpPr>
        <p:spPr>
          <a:xfrm>
            <a:off x="5715008" y="2786058"/>
            <a:ext cx="714380" cy="214313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1400" b="0">
              <a:ea typeface="华文细黑" pitchFamily="2" charset="-122"/>
            </a:endParaRPr>
          </a:p>
        </p:txBody>
      </p:sp>
      <p:sp>
        <p:nvSpPr>
          <p:cNvPr id="16" name="标题 1"/>
          <p:cNvSpPr txBox="1">
            <a:spLocks/>
          </p:cNvSpPr>
          <p:nvPr/>
        </p:nvSpPr>
        <p:spPr>
          <a:xfrm>
            <a:off x="755576" y="11723"/>
            <a:ext cx="6388192" cy="562074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zh-CN" sz="3200" dirty="0" smtClean="0">
                <a:latin typeface="微软雅黑" pitchFamily="34" charset="-122"/>
                <a:ea typeface="微软雅黑" pitchFamily="34" charset="-122"/>
              </a:rPr>
              <a:t>Wind</a:t>
            </a:r>
            <a:r>
              <a:rPr lang="zh-CN" altLang="en-US" sz="3200" dirty="0" smtClean="0">
                <a:latin typeface="微软雅黑" pitchFamily="34" charset="-122"/>
                <a:ea typeface="微软雅黑" pitchFamily="34" charset="-122"/>
              </a:rPr>
              <a:t>量化平台：功能定位</a:t>
            </a:r>
          </a:p>
          <a:p>
            <a:pPr algn="l"/>
            <a:endParaRPr lang="zh-CN" altLang="en-US" sz="3200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25810" y="1268760"/>
            <a:ext cx="26468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量化过程三部曲：</a:t>
            </a:r>
            <a:endParaRPr lang="zh-CN" altLang="en-US" sz="2400" dirty="0">
              <a:latin typeface="微软雅黑" pitchFamily="34" charset="-122"/>
              <a:ea typeface="微软雅黑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0" grpId="0" animBg="1"/>
      <p:bldP spid="11" grpId="0" animBg="1"/>
      <p:bldP spid="7" grpId="0"/>
      <p:bldP spid="9" grpId="0"/>
      <p:bldP spid="13" grpId="0"/>
      <p:bldP spid="14" grpId="0" animBg="1"/>
      <p:bldP spid="15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 txBox="1">
            <a:spLocks/>
          </p:cNvSpPr>
          <p:nvPr/>
        </p:nvSpPr>
        <p:spPr>
          <a:xfrm>
            <a:off x="755576" y="11723"/>
            <a:ext cx="8136904" cy="562074"/>
          </a:xfrm>
          <a:prstGeom prst="rect">
            <a:avLst/>
          </a:prstGeom>
        </p:spPr>
        <p:txBody>
          <a:bodyPr/>
          <a:lstStyle/>
          <a:p>
            <a:pPr lvl="0">
              <a:spcBef>
                <a:spcPct val="0"/>
              </a:spcBef>
            </a:pPr>
            <a:r>
              <a:rPr kumimoji="0" lang="zh-CN" alt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j-cs"/>
              </a:rPr>
              <a:t>日期宏</a:t>
            </a:r>
            <a:endParaRPr kumimoji="0" lang="zh-CN" altLang="en-US" sz="3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j-cs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749102" y="1268760"/>
            <a:ext cx="792961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支持</a:t>
            </a: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相对日期表达方式，相对日期周期包括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:TD/D/W/M/Q/S/Y,</a:t>
            </a: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即交易日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日历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日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日历周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日历月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日历季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日历半年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日历年</a:t>
            </a:r>
          </a:p>
          <a:p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 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(1)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以</a:t>
            </a: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’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-’</a:t>
            </a: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代表前推，数字代表 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N </a:t>
            </a: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个周期，只支持整数；后推没有负号；</a:t>
            </a:r>
          </a:p>
          <a:p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 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(2)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截止</a:t>
            </a: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日期若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为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””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空值</a:t>
            </a: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，取系统当前日期；</a:t>
            </a:r>
          </a:p>
          <a:p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 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(3)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可与特殊日期</a:t>
            </a: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宏进行加减运算，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比如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”ED-10d”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；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883221" y="3284984"/>
            <a:ext cx="6433171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举例：</a:t>
            </a:r>
          </a:p>
          <a:p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1. </a:t>
            </a: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起始日期为 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1 </a:t>
            </a: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个月前，截至日期为最新</a:t>
            </a:r>
          </a:p>
          <a:p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	</a:t>
            </a:r>
            <a:r>
              <a:rPr lang="en-US" altLang="zh-CN" dirty="0" err="1" smtClean="0">
                <a:latin typeface="微软雅黑" pitchFamily="34" charset="-122"/>
                <a:ea typeface="微软雅黑" pitchFamily="34" charset="-122"/>
              </a:rPr>
              <a:t>StartDate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=“-1M”,EndDate=“”</a:t>
            </a:r>
            <a:endParaRPr lang="en-US" altLang="zh-CN" dirty="0">
              <a:latin typeface="微软雅黑" pitchFamily="34" charset="-122"/>
              <a:ea typeface="微软雅黑" pitchFamily="34" charset="-122"/>
            </a:endParaRPr>
          </a:p>
          <a:p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2. </a:t>
            </a: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起始日期为前推 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10 </a:t>
            </a: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个交易日，截至日期为前推 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5 </a:t>
            </a: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个交易日</a:t>
            </a:r>
          </a:p>
          <a:p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	</a:t>
            </a:r>
            <a:r>
              <a:rPr lang="en-US" altLang="zh-CN" dirty="0" err="1" smtClean="0">
                <a:latin typeface="微软雅黑" pitchFamily="34" charset="-122"/>
                <a:ea typeface="微软雅黑" pitchFamily="34" charset="-122"/>
              </a:rPr>
              <a:t>StartDate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=“-10TD”,EndDate=“-5TD”</a:t>
            </a:r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298134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3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/>
        </p:nvSpPr>
        <p:spPr>
          <a:xfrm>
            <a:off x="500032" y="1268759"/>
            <a:ext cx="842968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000" dirty="0" err="1">
                <a:latin typeface="微软雅黑" pitchFamily="34" charset="-122"/>
                <a:ea typeface="微软雅黑" pitchFamily="34" charset="-122"/>
              </a:rPr>
              <a:t>ulong</a:t>
            </a:r>
            <a:r>
              <a:rPr lang="en-US" altLang="zh-CN" sz="2000" dirty="0">
                <a:latin typeface="微软雅黑" pitchFamily="34" charset="-122"/>
                <a:ea typeface="微软雅黑" pitchFamily="34" charset="-122"/>
              </a:rPr>
              <a:t> rid = </a:t>
            </a:r>
            <a:r>
              <a:rPr lang="en-US" altLang="zh-CN" sz="2000" dirty="0" err="1">
                <a:latin typeface="微软雅黑" pitchFamily="34" charset="-122"/>
                <a:ea typeface="微软雅黑" pitchFamily="34" charset="-122"/>
              </a:rPr>
              <a:t>w.wsq</a:t>
            </a:r>
            <a:r>
              <a:rPr lang="en-US" altLang="zh-CN" sz="2000" dirty="0">
                <a:latin typeface="微软雅黑" pitchFamily="34" charset="-122"/>
                <a:ea typeface="微软雅黑" pitchFamily="34" charset="-122"/>
              </a:rPr>
              <a:t>("0700.HK,0001.HK", </a:t>
            </a:r>
            <a:r>
              <a:rPr lang="en-US" altLang="zh-CN" sz="2000" dirty="0" smtClean="0">
                <a:latin typeface="微软雅黑" pitchFamily="34" charset="-122"/>
                <a:ea typeface="微软雅黑" pitchFamily="34" charset="-122"/>
              </a:rPr>
              <a:t>"rt_ask1,rt_bid1,rt_last,rt_asize1,rt_bsize1</a:t>
            </a:r>
            <a:r>
              <a:rPr lang="en-US" altLang="zh-CN" sz="2000" dirty="0">
                <a:latin typeface="微软雅黑" pitchFamily="34" charset="-122"/>
                <a:ea typeface="微软雅黑" pitchFamily="34" charset="-122"/>
              </a:rPr>
              <a:t>", "", </a:t>
            </a:r>
            <a:r>
              <a:rPr lang="en-US" altLang="zh-CN" sz="2000" dirty="0" smtClean="0">
                <a:latin typeface="微软雅黑" pitchFamily="34" charset="-122"/>
                <a:ea typeface="微软雅黑" pitchFamily="34" charset="-122"/>
              </a:rPr>
              <a:t>myCallback, true);</a:t>
            </a:r>
            <a:endParaRPr lang="zh-CN" altLang="en-US" sz="20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" name="标题 1"/>
          <p:cNvSpPr txBox="1">
            <a:spLocks/>
          </p:cNvSpPr>
          <p:nvPr/>
        </p:nvSpPr>
        <p:spPr>
          <a:xfrm>
            <a:off x="755576" y="11723"/>
            <a:ext cx="8174142" cy="562074"/>
          </a:xfrm>
          <a:prstGeom prst="rect">
            <a:avLst/>
          </a:prstGeom>
        </p:spPr>
        <p:txBody>
          <a:bodyPr/>
          <a:lstStyle/>
          <a:p>
            <a:pPr lvl="0">
              <a:spcBef>
                <a:spcPct val="0"/>
              </a:spcBef>
            </a:pPr>
            <a:r>
              <a:rPr lang="zh-CN" altLang="en-US" sz="3200" dirty="0" smtClean="0">
                <a:latin typeface="微软雅黑" pitchFamily="34" charset="-122"/>
                <a:ea typeface="微软雅黑" pitchFamily="34" charset="-122"/>
                <a:cs typeface="+mj-cs"/>
              </a:rPr>
              <a:t>循序渐进</a:t>
            </a:r>
            <a:r>
              <a:rPr lang="en-US" altLang="zh-CN" sz="3200" dirty="0" smtClean="0">
                <a:latin typeface="微软雅黑" pitchFamily="34" charset="-122"/>
                <a:ea typeface="微软雅黑" pitchFamily="34" charset="-122"/>
                <a:cs typeface="+mj-cs"/>
              </a:rPr>
              <a:t>-3</a:t>
            </a:r>
            <a:r>
              <a:rPr lang="zh-CN" altLang="en-US" sz="3200" dirty="0" smtClean="0">
                <a:latin typeface="微软雅黑" pitchFamily="34" charset="-122"/>
                <a:ea typeface="微软雅黑" pitchFamily="34" charset="-122"/>
                <a:cs typeface="+mj-cs"/>
              </a:rPr>
              <a:t>：使用</a:t>
            </a:r>
            <a:r>
              <a:rPr lang="en-US" altLang="zh-CN" sz="3200" dirty="0" smtClean="0">
                <a:latin typeface="微软雅黑" pitchFamily="34" charset="-122"/>
                <a:ea typeface="微软雅黑" pitchFamily="34" charset="-122"/>
                <a:cs typeface="+mj-cs"/>
              </a:rPr>
              <a:t>WSQ</a:t>
            </a:r>
            <a:r>
              <a:rPr lang="zh-CN" altLang="en-US" sz="3200" dirty="0" smtClean="0">
                <a:latin typeface="微软雅黑" pitchFamily="34" charset="-122"/>
                <a:ea typeface="微软雅黑" pitchFamily="34" charset="-122"/>
                <a:cs typeface="+mj-cs"/>
              </a:rPr>
              <a:t>订阅实时行情</a:t>
            </a:r>
            <a:endParaRPr lang="zh-CN" altLang="en-US" sz="3200" dirty="0">
              <a:latin typeface="微软雅黑" pitchFamily="34" charset="-122"/>
              <a:ea typeface="微软雅黑" pitchFamily="34" charset="-122"/>
              <a:cs typeface="+mj-cs"/>
            </a:endParaRPr>
          </a:p>
        </p:txBody>
      </p:sp>
      <p:grpSp>
        <p:nvGrpSpPr>
          <p:cNvPr id="12" name="组合 11"/>
          <p:cNvGrpSpPr/>
          <p:nvPr/>
        </p:nvGrpSpPr>
        <p:grpSpPr>
          <a:xfrm>
            <a:off x="623266" y="1976645"/>
            <a:ext cx="7549134" cy="3384377"/>
            <a:chOff x="623266" y="1976645"/>
            <a:chExt cx="7549134" cy="3384377"/>
          </a:xfrm>
        </p:grpSpPr>
        <p:sp>
          <p:nvSpPr>
            <p:cNvPr id="4" name="TextBox 3"/>
            <p:cNvSpPr txBox="1"/>
            <p:nvPr/>
          </p:nvSpPr>
          <p:spPr>
            <a:xfrm>
              <a:off x="623266" y="4653136"/>
              <a:ext cx="3668953" cy="7078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dirty="0" smtClean="0">
                  <a:latin typeface="微软雅黑" pitchFamily="34" charset="-122"/>
                  <a:ea typeface="微软雅黑" pitchFamily="34" charset="-122"/>
                </a:rPr>
                <a:t>true:</a:t>
              </a:r>
              <a:r>
                <a:rPr lang="zh-CN" altLang="en-US" sz="2000" dirty="0" smtClean="0">
                  <a:latin typeface="微软雅黑" pitchFamily="34" charset="-122"/>
                  <a:ea typeface="微软雅黑" pitchFamily="34" charset="-122"/>
                </a:rPr>
                <a:t>每次回调返回全部数据；</a:t>
              </a:r>
              <a:endParaRPr lang="en-US" altLang="zh-CN" sz="2000" dirty="0" smtClean="0">
                <a:latin typeface="微软雅黑" pitchFamily="34" charset="-122"/>
                <a:ea typeface="微软雅黑" pitchFamily="34" charset="-122"/>
              </a:endParaRPr>
            </a:p>
            <a:p>
              <a:r>
                <a:rPr lang="en-US" altLang="zh-CN" sz="2000" dirty="0" smtClean="0">
                  <a:latin typeface="微软雅黑" pitchFamily="34" charset="-122"/>
                  <a:ea typeface="微软雅黑" pitchFamily="34" charset="-122"/>
                </a:rPr>
                <a:t>False:</a:t>
              </a:r>
              <a:r>
                <a:rPr lang="zh-CN" altLang="en-US" sz="2000" dirty="0" smtClean="0">
                  <a:latin typeface="微软雅黑" pitchFamily="34" charset="-122"/>
                  <a:ea typeface="微软雅黑" pitchFamily="34" charset="-122"/>
                </a:rPr>
                <a:t>每次回调仅返回改变数据</a:t>
              </a:r>
              <a:endParaRPr lang="zh-CN" altLang="en-US" sz="2000" dirty="0">
                <a:latin typeface="微软雅黑" pitchFamily="34" charset="-122"/>
                <a:ea typeface="微软雅黑" pitchFamily="34" charset="-122"/>
              </a:endParaRPr>
            </a:p>
          </p:txBody>
        </p:sp>
        <p:grpSp>
          <p:nvGrpSpPr>
            <p:cNvPr id="10" name="组合 9"/>
            <p:cNvGrpSpPr/>
            <p:nvPr/>
          </p:nvGrpSpPr>
          <p:grpSpPr>
            <a:xfrm>
              <a:off x="4292219" y="1976645"/>
              <a:ext cx="3880181" cy="3030434"/>
              <a:chOff x="4292219" y="1976645"/>
              <a:chExt cx="3880181" cy="3030434"/>
            </a:xfrm>
          </p:grpSpPr>
          <p:cxnSp>
            <p:nvCxnSpPr>
              <p:cNvPr id="30723" name="肘形连接符 30722"/>
              <p:cNvCxnSpPr>
                <a:endCxn id="4" idx="3"/>
              </p:cNvCxnSpPr>
              <p:nvPr/>
            </p:nvCxnSpPr>
            <p:spPr>
              <a:xfrm rot="10800000" flipV="1">
                <a:off x="4292219" y="1976645"/>
                <a:ext cx="3592150" cy="3030434"/>
              </a:xfrm>
              <a:prstGeom prst="bentConnector3">
                <a:avLst>
                  <a:gd name="adj1" fmla="val -62"/>
                </a:avLst>
              </a:prstGeom>
              <a:ln>
                <a:headEnd type="none" w="med" len="med"/>
                <a:tailEnd type="triangle" w="med" len="med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6" name="直接连接符 5"/>
              <p:cNvCxnSpPr/>
              <p:nvPr/>
            </p:nvCxnSpPr>
            <p:spPr>
              <a:xfrm>
                <a:off x="7596336" y="1976645"/>
                <a:ext cx="576064" cy="0"/>
              </a:xfrm>
              <a:prstGeom prst="line">
                <a:avLst/>
              </a:prstGeom>
              <a:ln/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3" name="组合 22"/>
          <p:cNvGrpSpPr/>
          <p:nvPr/>
        </p:nvGrpSpPr>
        <p:grpSpPr>
          <a:xfrm>
            <a:off x="618112" y="1976644"/>
            <a:ext cx="8193525" cy="2055715"/>
            <a:chOff x="618112" y="1976644"/>
            <a:chExt cx="8193525" cy="2055715"/>
          </a:xfrm>
        </p:grpSpPr>
        <p:sp>
          <p:nvSpPr>
            <p:cNvPr id="2" name="TextBox 1"/>
            <p:cNvSpPr txBox="1"/>
            <p:nvPr/>
          </p:nvSpPr>
          <p:spPr>
            <a:xfrm>
              <a:off x="618112" y="2708920"/>
              <a:ext cx="8193525" cy="132343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dirty="0">
                  <a:latin typeface="微软雅黑" pitchFamily="34" charset="-122"/>
                  <a:ea typeface="微软雅黑" pitchFamily="34" charset="-122"/>
                </a:rPr>
                <a:t>public void myCallback(WindData wd){</a:t>
              </a:r>
            </a:p>
            <a:p>
              <a:r>
                <a:rPr lang="en-US" altLang="zh-CN" sz="2000" dirty="0">
                  <a:latin typeface="微软雅黑" pitchFamily="34" charset="-122"/>
                  <a:ea typeface="微软雅黑" pitchFamily="34" charset="-122"/>
                </a:rPr>
                <a:t>    //</a:t>
              </a:r>
              <a:r>
                <a:rPr lang="zh-CN" altLang="en-US" sz="2000" dirty="0">
                  <a:latin typeface="微软雅黑" pitchFamily="34" charset="-122"/>
                  <a:ea typeface="微软雅黑" pitchFamily="34" charset="-122"/>
                </a:rPr>
                <a:t>用户代码区域</a:t>
              </a:r>
            </a:p>
            <a:p>
              <a:r>
                <a:rPr lang="zh-CN" altLang="en-US" sz="2000" dirty="0">
                  <a:latin typeface="微软雅黑" pitchFamily="34" charset="-122"/>
                  <a:ea typeface="微软雅黑" pitchFamily="34" charset="-122"/>
                </a:rPr>
                <a:t>    </a:t>
              </a:r>
              <a:r>
                <a:rPr lang="en-US" altLang="zh-CN" sz="2000" dirty="0">
                  <a:latin typeface="微软雅黑" pitchFamily="34" charset="-122"/>
                  <a:ea typeface="微软雅黑" pitchFamily="34" charset="-122"/>
                </a:rPr>
                <a:t>//</a:t>
              </a:r>
              <a:r>
                <a:rPr lang="zh-CN" altLang="en-US" sz="2000" dirty="0">
                  <a:latin typeface="微软雅黑" pitchFamily="34" charset="-122"/>
                  <a:ea typeface="微软雅黑" pitchFamily="34" charset="-122"/>
                </a:rPr>
                <a:t>订阅返回数据存放在</a:t>
              </a:r>
              <a:r>
                <a:rPr lang="en-US" altLang="zh-CN" sz="2000" dirty="0">
                  <a:latin typeface="微软雅黑" pitchFamily="34" charset="-122"/>
                  <a:ea typeface="微软雅黑" pitchFamily="34" charset="-122"/>
                </a:rPr>
                <a:t>WindData</a:t>
              </a:r>
              <a:r>
                <a:rPr lang="zh-CN" altLang="en-US" sz="2000" dirty="0">
                  <a:latin typeface="微软雅黑" pitchFamily="34" charset="-122"/>
                  <a:ea typeface="微软雅黑" pitchFamily="34" charset="-122"/>
                </a:rPr>
                <a:t>参数</a:t>
              </a:r>
              <a:r>
                <a:rPr lang="en-US" altLang="zh-CN" sz="2000" dirty="0">
                  <a:latin typeface="微软雅黑" pitchFamily="34" charset="-122"/>
                  <a:ea typeface="微软雅黑" pitchFamily="34" charset="-122"/>
                </a:rPr>
                <a:t>wd</a:t>
              </a:r>
              <a:r>
                <a:rPr lang="zh-CN" altLang="en-US" sz="2000" dirty="0">
                  <a:latin typeface="微软雅黑" pitchFamily="34" charset="-122"/>
                  <a:ea typeface="微软雅黑" pitchFamily="34" charset="-122"/>
                </a:rPr>
                <a:t>中，可以对其进行分析操作</a:t>
              </a:r>
            </a:p>
            <a:p>
              <a:r>
                <a:rPr lang="en-US" altLang="zh-CN" sz="2000" dirty="0">
                  <a:latin typeface="微软雅黑" pitchFamily="34" charset="-122"/>
                  <a:ea typeface="微软雅黑" pitchFamily="34" charset="-122"/>
                </a:rPr>
                <a:t>}</a:t>
              </a:r>
              <a:endParaRPr lang="zh-CN" altLang="en-US" sz="2000" dirty="0">
                <a:latin typeface="微软雅黑" pitchFamily="34" charset="-122"/>
                <a:ea typeface="微软雅黑" pitchFamily="34" charset="-122"/>
              </a:endParaRPr>
            </a:p>
          </p:txBody>
        </p:sp>
        <p:cxnSp>
          <p:nvCxnSpPr>
            <p:cNvPr id="14" name="肘形连接符 13"/>
            <p:cNvCxnSpPr/>
            <p:nvPr/>
          </p:nvCxnSpPr>
          <p:spPr>
            <a:xfrm rot="10800000" flipV="1">
              <a:off x="5940152" y="1976644"/>
              <a:ext cx="1008112" cy="948299"/>
            </a:xfrm>
            <a:prstGeom prst="bentConnector3">
              <a:avLst>
                <a:gd name="adj1" fmla="val 113"/>
              </a:avLst>
            </a:prstGeom>
            <a:ln>
              <a:tailEnd type="arrow"/>
            </a:ln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22" name="直接连接符 21"/>
            <p:cNvCxnSpPr/>
            <p:nvPr/>
          </p:nvCxnSpPr>
          <p:spPr>
            <a:xfrm>
              <a:off x="6228184" y="1976644"/>
              <a:ext cx="1224136" cy="0"/>
            </a:xfrm>
            <a:prstGeom prst="line">
              <a:avLst/>
            </a:prstGeom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</p:grp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标题 1"/>
          <p:cNvSpPr txBox="1">
            <a:spLocks/>
          </p:cNvSpPr>
          <p:nvPr/>
        </p:nvSpPr>
        <p:spPr>
          <a:xfrm>
            <a:off x="755576" y="11723"/>
            <a:ext cx="8174142" cy="562074"/>
          </a:xfrm>
          <a:prstGeom prst="rect">
            <a:avLst/>
          </a:prstGeom>
        </p:spPr>
        <p:txBody>
          <a:bodyPr/>
          <a:lstStyle/>
          <a:p>
            <a:pPr lvl="0">
              <a:spcBef>
                <a:spcPct val="0"/>
              </a:spcBef>
            </a:pPr>
            <a:r>
              <a:rPr lang="zh-CN" altLang="en-US" sz="3200" dirty="0" smtClean="0">
                <a:latin typeface="微软雅黑" pitchFamily="34" charset="-122"/>
                <a:ea typeface="微软雅黑" pitchFamily="34" charset="-122"/>
                <a:cs typeface="+mj-cs"/>
              </a:rPr>
              <a:t>循序渐进</a:t>
            </a:r>
            <a:r>
              <a:rPr lang="en-US" altLang="zh-CN" sz="3200" dirty="0" smtClean="0">
                <a:latin typeface="微软雅黑" pitchFamily="34" charset="-122"/>
                <a:ea typeface="微软雅黑" pitchFamily="34" charset="-122"/>
                <a:cs typeface="+mj-cs"/>
              </a:rPr>
              <a:t>-3</a:t>
            </a:r>
            <a:r>
              <a:rPr lang="zh-CN" altLang="en-US" sz="3200" dirty="0" smtClean="0">
                <a:latin typeface="微软雅黑" pitchFamily="34" charset="-122"/>
                <a:ea typeface="微软雅黑" pitchFamily="34" charset="-122"/>
                <a:cs typeface="+mj-cs"/>
              </a:rPr>
              <a:t>：使用</a:t>
            </a:r>
            <a:r>
              <a:rPr lang="en-US" altLang="zh-CN" sz="3200" dirty="0" smtClean="0">
                <a:latin typeface="微软雅黑" pitchFamily="34" charset="-122"/>
                <a:ea typeface="微软雅黑" pitchFamily="34" charset="-122"/>
                <a:cs typeface="+mj-cs"/>
              </a:rPr>
              <a:t>WSQ</a:t>
            </a:r>
            <a:r>
              <a:rPr lang="zh-CN" altLang="en-US" sz="3200" dirty="0" smtClean="0">
                <a:latin typeface="微软雅黑" pitchFamily="34" charset="-122"/>
                <a:ea typeface="微软雅黑" pitchFamily="34" charset="-122"/>
                <a:cs typeface="+mj-cs"/>
              </a:rPr>
              <a:t>订阅实时行情</a:t>
            </a:r>
            <a:endParaRPr lang="zh-CN" altLang="en-US" sz="3200" dirty="0">
              <a:latin typeface="微软雅黑" pitchFamily="34" charset="-122"/>
              <a:ea typeface="微软雅黑" pitchFamily="34" charset="-122"/>
              <a:cs typeface="+mj-cs"/>
            </a:endParaRPr>
          </a:p>
        </p:txBody>
      </p:sp>
      <p:pic>
        <p:nvPicPr>
          <p:cNvPr id="4813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1" y="666587"/>
            <a:ext cx="8084269" cy="5786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4" name="组合 3"/>
          <p:cNvGrpSpPr/>
          <p:nvPr/>
        </p:nvGrpSpPr>
        <p:grpSpPr>
          <a:xfrm>
            <a:off x="2699792" y="3068960"/>
            <a:ext cx="504056" cy="1800201"/>
            <a:chOff x="2699792" y="3068960"/>
            <a:chExt cx="504056" cy="1800201"/>
          </a:xfrm>
        </p:grpSpPr>
        <p:sp>
          <p:nvSpPr>
            <p:cNvPr id="6" name="圆角矩形 5"/>
            <p:cNvSpPr/>
            <p:nvPr/>
          </p:nvSpPr>
          <p:spPr>
            <a:xfrm>
              <a:off x="2699792" y="4653137"/>
              <a:ext cx="504056" cy="216024"/>
            </a:xfrm>
            <a:prstGeom prst="round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400" dirty="0"/>
            </a:p>
          </p:txBody>
        </p:sp>
        <p:sp>
          <p:nvSpPr>
            <p:cNvPr id="7" name="圆角矩形 6"/>
            <p:cNvSpPr/>
            <p:nvPr/>
          </p:nvSpPr>
          <p:spPr>
            <a:xfrm>
              <a:off x="2699792" y="3068960"/>
              <a:ext cx="504056" cy="216024"/>
            </a:xfrm>
            <a:prstGeom prst="round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400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val="421294389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524354" y="1475492"/>
            <a:ext cx="779206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 err="1" smtClean="0"/>
              <a:t>w.edb</a:t>
            </a:r>
            <a:r>
              <a:rPr lang="en-US" altLang="zh-CN" dirty="0" smtClean="0"/>
              <a:t>(</a:t>
            </a:r>
            <a:r>
              <a:rPr lang="en-US" altLang="zh-CN" dirty="0" smtClean="0">
                <a:solidFill>
                  <a:srgbClr val="C00000"/>
                </a:solidFill>
              </a:rPr>
              <a:t>"M5407921</a:t>
            </a:r>
            <a:r>
              <a:rPr lang="en-US" altLang="zh-CN" dirty="0">
                <a:solidFill>
                  <a:srgbClr val="C00000"/>
                </a:solidFill>
              </a:rPr>
              <a:t>"</a:t>
            </a:r>
            <a:r>
              <a:rPr lang="en-US" altLang="zh-CN" dirty="0"/>
              <a:t>, </a:t>
            </a:r>
            <a:r>
              <a:rPr lang="en-US" altLang="zh-CN" dirty="0" smtClean="0">
                <a:solidFill>
                  <a:srgbClr val="C00000"/>
                </a:solidFill>
              </a:rPr>
              <a:t>"</a:t>
            </a:r>
            <a:r>
              <a:rPr lang="en-US" altLang="zh-CN" dirty="0">
                <a:solidFill>
                  <a:srgbClr val="C00000"/>
                </a:solidFill>
              </a:rPr>
              <a:t>2014-01-01</a:t>
            </a:r>
            <a:r>
              <a:rPr lang="en-US" altLang="zh-CN" dirty="0" smtClean="0">
                <a:solidFill>
                  <a:srgbClr val="C00000"/>
                </a:solidFill>
              </a:rPr>
              <a:t>"</a:t>
            </a:r>
            <a:r>
              <a:rPr lang="en-US" altLang="zh-CN" dirty="0" smtClean="0"/>
              <a:t>, </a:t>
            </a:r>
            <a:r>
              <a:rPr lang="en-US" altLang="zh-CN" dirty="0" smtClean="0">
                <a:solidFill>
                  <a:srgbClr val="C00000"/>
                </a:solidFill>
              </a:rPr>
              <a:t>"</a:t>
            </a:r>
            <a:r>
              <a:rPr lang="en-US" altLang="zh-CN" dirty="0">
                <a:solidFill>
                  <a:srgbClr val="C00000"/>
                </a:solidFill>
              </a:rPr>
              <a:t>2014-07-31</a:t>
            </a:r>
            <a:r>
              <a:rPr lang="en-US" altLang="zh-CN" dirty="0" smtClean="0">
                <a:solidFill>
                  <a:srgbClr val="C00000"/>
                </a:solidFill>
              </a:rPr>
              <a:t>"</a:t>
            </a:r>
            <a:r>
              <a:rPr lang="en-US" altLang="zh-CN" dirty="0" smtClean="0"/>
              <a:t>, </a:t>
            </a:r>
            <a:r>
              <a:rPr lang="en-US" altLang="zh-CN" dirty="0" smtClean="0">
                <a:solidFill>
                  <a:srgbClr val="C00000"/>
                </a:solidFill>
              </a:rPr>
              <a:t>""</a:t>
            </a:r>
            <a:r>
              <a:rPr lang="en-US" altLang="zh-CN" dirty="0" smtClean="0"/>
              <a:t>);</a:t>
            </a:r>
            <a:endParaRPr lang="zh-CN" alt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501311" y="1178168"/>
            <a:ext cx="34563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克强指数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491042" y="2339588"/>
            <a:ext cx="760934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 err="1"/>
              <a:t>w.edb</a:t>
            </a:r>
            <a:r>
              <a:rPr lang="en-US" altLang="zh-CN" dirty="0"/>
              <a:t>(L</a:t>
            </a:r>
            <a:r>
              <a:rPr lang="en-US" altLang="zh-CN" dirty="0" smtClean="0">
                <a:solidFill>
                  <a:srgbClr val="C00000"/>
                </a:solidFill>
              </a:rPr>
              <a:t>"M0000272"</a:t>
            </a:r>
            <a:r>
              <a:rPr lang="en-US" altLang="zh-CN" dirty="0" smtClean="0"/>
              <a:t>, </a:t>
            </a:r>
            <a:r>
              <a:rPr lang="en-US" altLang="zh-CN" dirty="0" smtClean="0">
                <a:solidFill>
                  <a:srgbClr val="C00000"/>
                </a:solidFill>
              </a:rPr>
              <a:t>"</a:t>
            </a:r>
            <a:r>
              <a:rPr lang="en-US" altLang="zh-CN" dirty="0">
                <a:solidFill>
                  <a:srgbClr val="C00000"/>
                </a:solidFill>
              </a:rPr>
              <a:t>2014-01-01"</a:t>
            </a:r>
            <a:r>
              <a:rPr lang="en-US" altLang="zh-CN" dirty="0"/>
              <a:t>, </a:t>
            </a:r>
            <a:r>
              <a:rPr lang="en-US" altLang="zh-CN" dirty="0" smtClean="0">
                <a:solidFill>
                  <a:srgbClr val="C00000"/>
                </a:solidFill>
              </a:rPr>
              <a:t>"2014-09-20"</a:t>
            </a:r>
            <a:r>
              <a:rPr lang="en-US" altLang="zh-CN" dirty="0" smtClean="0"/>
              <a:t>, </a:t>
            </a:r>
            <a:r>
              <a:rPr lang="en-US" altLang="zh-CN" dirty="0" smtClean="0">
                <a:solidFill>
                  <a:srgbClr val="C00000"/>
                </a:solidFill>
              </a:rPr>
              <a:t>""</a:t>
            </a:r>
            <a:r>
              <a:rPr lang="en-US" altLang="zh-CN" dirty="0" smtClean="0"/>
              <a:t>);</a:t>
            </a:r>
            <a:endParaRPr lang="zh-CN" alt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483797" y="2051556"/>
            <a:ext cx="34563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固定资产投资完成额度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" name="标题 1"/>
          <p:cNvSpPr txBox="1">
            <a:spLocks/>
          </p:cNvSpPr>
          <p:nvPr/>
        </p:nvSpPr>
        <p:spPr>
          <a:xfrm>
            <a:off x="755576" y="11723"/>
            <a:ext cx="8174142" cy="562074"/>
          </a:xfrm>
          <a:prstGeom prst="rect">
            <a:avLst/>
          </a:prstGeom>
        </p:spPr>
        <p:txBody>
          <a:bodyPr/>
          <a:lstStyle/>
          <a:p>
            <a:pPr lvl="0">
              <a:spcBef>
                <a:spcPct val="0"/>
              </a:spcBef>
            </a:pPr>
            <a:r>
              <a:rPr lang="zh-CN" altLang="en-US" sz="3200" dirty="0" smtClean="0">
                <a:latin typeface="微软雅黑" pitchFamily="34" charset="-122"/>
                <a:ea typeface="微软雅黑" pitchFamily="34" charset="-122"/>
                <a:cs typeface="+mj-cs"/>
              </a:rPr>
              <a:t>循序渐进</a:t>
            </a:r>
            <a:r>
              <a:rPr lang="en-US" altLang="zh-CN" sz="3200" dirty="0" smtClean="0">
                <a:latin typeface="微软雅黑" pitchFamily="34" charset="-122"/>
                <a:ea typeface="微软雅黑" pitchFamily="34" charset="-122"/>
                <a:cs typeface="+mj-cs"/>
              </a:rPr>
              <a:t>-4</a:t>
            </a:r>
            <a:r>
              <a:rPr lang="zh-CN" altLang="en-US" sz="3200" dirty="0" smtClean="0">
                <a:latin typeface="微软雅黑" pitchFamily="34" charset="-122"/>
                <a:ea typeface="微软雅黑" pitchFamily="34" charset="-122"/>
                <a:cs typeface="+mj-cs"/>
              </a:rPr>
              <a:t>：获取</a:t>
            </a:r>
            <a:r>
              <a:rPr lang="en-US" altLang="zh-CN" sz="3200" dirty="0" smtClean="0">
                <a:latin typeface="微软雅黑" pitchFamily="34" charset="-122"/>
                <a:ea typeface="微软雅黑" pitchFamily="34" charset="-122"/>
                <a:cs typeface="+mj-cs"/>
              </a:rPr>
              <a:t>EDB</a:t>
            </a:r>
            <a:r>
              <a:rPr lang="zh-CN" altLang="en-US" sz="3200" dirty="0" smtClean="0">
                <a:latin typeface="微软雅黑" pitchFamily="34" charset="-122"/>
                <a:ea typeface="微软雅黑" pitchFamily="34" charset="-122"/>
                <a:cs typeface="+mj-cs"/>
              </a:rPr>
              <a:t>数据</a:t>
            </a:r>
            <a:endParaRPr lang="zh-CN" altLang="en-US" sz="3200" dirty="0">
              <a:latin typeface="微软雅黑" pitchFamily="34" charset="-122"/>
              <a:ea typeface="微软雅黑" pitchFamily="34" charset="-122"/>
              <a:cs typeface="+mj-cs"/>
            </a:endParaRPr>
          </a:p>
        </p:txBody>
      </p:sp>
      <p:pic>
        <p:nvPicPr>
          <p:cNvPr id="4813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8024" y="3140968"/>
            <a:ext cx="3921801" cy="2825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8132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3140968"/>
            <a:ext cx="3906126" cy="28304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3375256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标题 1"/>
          <p:cNvSpPr txBox="1">
            <a:spLocks/>
          </p:cNvSpPr>
          <p:nvPr/>
        </p:nvSpPr>
        <p:spPr>
          <a:xfrm>
            <a:off x="755576" y="11723"/>
            <a:ext cx="8174142" cy="562074"/>
          </a:xfrm>
          <a:prstGeom prst="rect">
            <a:avLst/>
          </a:prstGeom>
        </p:spPr>
        <p:txBody>
          <a:bodyPr/>
          <a:lstStyle/>
          <a:p>
            <a:pPr lvl="0">
              <a:spcBef>
                <a:spcPct val="0"/>
              </a:spcBef>
            </a:pPr>
            <a:r>
              <a:rPr lang="zh-CN" altLang="en-US" sz="3200" dirty="0" smtClean="0">
                <a:latin typeface="微软雅黑" pitchFamily="34" charset="-122"/>
                <a:ea typeface="微软雅黑" pitchFamily="34" charset="-122"/>
                <a:cs typeface="+mj-cs"/>
              </a:rPr>
              <a:t>循序渐进</a:t>
            </a:r>
            <a:r>
              <a:rPr lang="en-US" altLang="zh-CN" sz="3200" dirty="0" smtClean="0">
                <a:latin typeface="微软雅黑" pitchFamily="34" charset="-122"/>
                <a:ea typeface="微软雅黑" pitchFamily="34" charset="-122"/>
                <a:cs typeface="+mj-cs"/>
              </a:rPr>
              <a:t>-5</a:t>
            </a:r>
            <a:r>
              <a:rPr lang="zh-CN" altLang="en-US" sz="3200" dirty="0" smtClean="0">
                <a:latin typeface="微软雅黑" pitchFamily="34" charset="-122"/>
                <a:ea typeface="微软雅黑" pitchFamily="34" charset="-122"/>
                <a:cs typeface="+mj-cs"/>
              </a:rPr>
              <a:t>：日期序列</a:t>
            </a:r>
            <a:endParaRPr lang="zh-CN" altLang="en-US" sz="3200" dirty="0">
              <a:latin typeface="微软雅黑" pitchFamily="34" charset="-122"/>
              <a:ea typeface="微软雅黑" pitchFamily="34" charset="-122"/>
              <a:cs typeface="+mj-cs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32275" y="908720"/>
            <a:ext cx="712932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000" dirty="0">
                <a:latin typeface="微软雅黑" pitchFamily="34" charset="-122"/>
                <a:ea typeface="微软雅黑" pitchFamily="34" charset="-122"/>
              </a:rPr>
              <a:t>WindData wd = w.tdays("2014-10-07", "2014-11-07", "");</a:t>
            </a:r>
            <a:endParaRPr lang="zh-CN" altLang="en-US" sz="2000" dirty="0"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4915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275" y="1484784"/>
            <a:ext cx="7986107" cy="49093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12698626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图示 4"/>
          <p:cNvGraphicFramePr/>
          <p:nvPr>
            <p:extLst>
              <p:ext uri="{D42A27DB-BD31-4B8C-83A1-F6EECF244321}">
                <p14:modId xmlns="" xmlns:p14="http://schemas.microsoft.com/office/powerpoint/2010/main" val="398112029"/>
              </p:ext>
            </p:extLst>
          </p:nvPr>
        </p:nvGraphicFramePr>
        <p:xfrm>
          <a:off x="1285852" y="1071546"/>
          <a:ext cx="6834214" cy="48180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标题 1"/>
          <p:cNvSpPr txBox="1">
            <a:spLocks/>
          </p:cNvSpPr>
          <p:nvPr/>
        </p:nvSpPr>
        <p:spPr>
          <a:xfrm>
            <a:off x="755576" y="11723"/>
            <a:ext cx="4104456" cy="562074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zh-CN" sz="3200" dirty="0" smtClean="0">
                <a:latin typeface="微软雅黑" pitchFamily="34" charset="-122"/>
                <a:ea typeface="微软雅黑" pitchFamily="34" charset="-122"/>
              </a:rPr>
              <a:t>Wind</a:t>
            </a:r>
            <a:r>
              <a:rPr lang="zh-CN" altLang="en-US" sz="3200" dirty="0" smtClean="0">
                <a:latin typeface="微软雅黑" pitchFamily="34" charset="-122"/>
                <a:ea typeface="微软雅黑" pitchFamily="34" charset="-122"/>
              </a:rPr>
              <a:t>量化平台</a:t>
            </a:r>
          </a:p>
        </p:txBody>
      </p:sp>
    </p:spTree>
    <p:extLst>
      <p:ext uri="{BB962C8B-B14F-4D97-AF65-F5344CB8AC3E}">
        <p14:creationId xmlns="" xmlns:p14="http://schemas.microsoft.com/office/powerpoint/2010/main" val="35813592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表格 1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285900367"/>
              </p:ext>
            </p:extLst>
          </p:nvPr>
        </p:nvGraphicFramePr>
        <p:xfrm>
          <a:off x="734392" y="1412777"/>
          <a:ext cx="8032406" cy="353031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426315"/>
                <a:gridCol w="3453184"/>
                <a:gridCol w="3152907"/>
              </a:tblGrid>
              <a:tr h="576063"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2000" b="0" kern="1200" baseline="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控制函数</a:t>
                      </a:r>
                      <a:endParaRPr lang="en-US" altLang="zh-CN" sz="2000" b="0" kern="1200" baseline="0" dirty="0" smtClean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2000" kern="1200" baseline="0" dirty="0" smtClean="0">
                          <a:latin typeface="微软雅黑" pitchFamily="34" charset="-122"/>
                          <a:ea typeface="微软雅黑" pitchFamily="34" charset="-122"/>
                        </a:rPr>
                        <a:t>tlogon</a:t>
                      </a:r>
                      <a:endParaRPr lang="en-US" altLang="zh-CN" sz="2000" b="0" kern="1200" baseline="0" dirty="0" smtClean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altLang="zh-CN" sz="2000" kern="1200" baseline="0" dirty="0" smtClean="0">
                          <a:latin typeface="微软雅黑" pitchFamily="34" charset="-122"/>
                          <a:ea typeface="微软雅黑" pitchFamily="34" charset="-122"/>
                        </a:rPr>
                        <a:t>Wind</a:t>
                      </a:r>
                      <a:r>
                        <a:rPr lang="zh-CN" altLang="en-US" sz="2000" kern="1200" baseline="0" dirty="0" smtClean="0">
                          <a:latin typeface="微软雅黑" pitchFamily="34" charset="-122"/>
                          <a:ea typeface="微软雅黑" pitchFamily="34" charset="-122"/>
                        </a:rPr>
                        <a:t>认证登录</a:t>
                      </a:r>
                      <a:endParaRPr lang="zh-CN" altLang="en-US" sz="2000" kern="1200" baseline="0" dirty="0" smtClean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/>
                </a:tc>
              </a:tr>
              <a:tr h="576064"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600" b="0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2000" kern="1200" baseline="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tlogout</a:t>
                      </a:r>
                      <a:endParaRPr lang="en-US" altLang="zh-CN" sz="2000" b="0" kern="1200" baseline="0" dirty="0" smtClean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2000" kern="1200" baseline="0" dirty="0" smtClean="0">
                          <a:latin typeface="微软雅黑" pitchFamily="34" charset="-122"/>
                          <a:ea typeface="微软雅黑" pitchFamily="34" charset="-122"/>
                        </a:rPr>
                        <a:t>Wind</a:t>
                      </a:r>
                      <a:r>
                        <a:rPr lang="zh-CN" altLang="en-US" sz="2000" kern="1200" baseline="0" dirty="0" smtClean="0">
                          <a:latin typeface="微软雅黑" pitchFamily="34" charset="-122"/>
                          <a:ea typeface="微软雅黑" pitchFamily="34" charset="-122"/>
                        </a:rPr>
                        <a:t>认证登出</a:t>
                      </a:r>
                      <a:endParaRPr lang="zh-CN" altLang="en-US" sz="2000" b="0" kern="1200" baseline="0" dirty="0" smtClean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/>
                </a:tc>
              </a:tr>
              <a:tr h="817375">
                <a:tc rowSpan="2">
                  <a:txBody>
                    <a:bodyPr/>
                    <a:lstStyle/>
                    <a:p>
                      <a:pPr algn="ctr"/>
                      <a:r>
                        <a:rPr lang="zh-CN" altLang="en-US" sz="2000" kern="1200" baseline="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交易函数</a:t>
                      </a:r>
                      <a:endParaRPr lang="en-US" altLang="zh-CN" sz="2000" kern="1200" baseline="0" dirty="0" smtClean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altLang="zh-CN" sz="2000" kern="1200" baseline="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tord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2000" kern="1200" baseline="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委托下单 </a:t>
                      </a:r>
                      <a:r>
                        <a:rPr lang="zh-CN" altLang="en-US" sz="2000" kern="1200" baseline="0" dirty="0" smtClean="0">
                          <a:latin typeface="微软雅黑" pitchFamily="34" charset="-122"/>
                          <a:ea typeface="微软雅黑" pitchFamily="34" charset="-122"/>
                        </a:rPr>
                        <a:t>	</a:t>
                      </a:r>
                      <a:endParaRPr lang="zh-CN" altLang="en-US" sz="2000" b="0" kern="1200" baseline="0" dirty="0" smtClean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/>
                </a:tc>
              </a:tr>
              <a:tr h="646146"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600" b="0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2000" kern="1200" baseline="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tcancel</a:t>
                      </a:r>
                      <a:endParaRPr lang="en-US" altLang="zh-CN" sz="2000" b="0" kern="1200" baseline="0" dirty="0" smtClean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2000" kern="1200" baseline="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撤销委托 </a:t>
                      </a:r>
                      <a:r>
                        <a:rPr lang="zh-CN" altLang="en-US" sz="2000" kern="1200" baseline="0" dirty="0" smtClean="0">
                          <a:latin typeface="微软雅黑" pitchFamily="34" charset="-122"/>
                          <a:ea typeface="微软雅黑" pitchFamily="34" charset="-122"/>
                        </a:rPr>
                        <a:t>	</a:t>
                      </a:r>
                      <a:endParaRPr lang="zh-CN" altLang="en-US" sz="2000" b="0" kern="1200" baseline="0" dirty="0" smtClean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/>
                </a:tc>
              </a:tr>
              <a:tr h="914671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 kern="1200" baseline="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查询函数</a:t>
                      </a:r>
                      <a:endParaRPr lang="en-US" altLang="zh-CN" sz="2000" kern="1200" baseline="0" dirty="0" smtClean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altLang="zh-CN" sz="2000" kern="1200" baseline="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tquery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2000" kern="1200" baseline="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交易情况查询</a:t>
                      </a:r>
                      <a:endParaRPr lang="zh-CN" altLang="en-US" sz="2000" b="0" kern="1200" baseline="0" dirty="0" smtClean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3" name="标题 1"/>
          <p:cNvSpPr txBox="1">
            <a:spLocks/>
          </p:cNvSpPr>
          <p:nvPr/>
        </p:nvSpPr>
        <p:spPr>
          <a:xfrm>
            <a:off x="755576" y="11723"/>
            <a:ext cx="4673680" cy="562074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zh-CN" sz="3200" dirty="0" smtClean="0">
                <a:latin typeface="微软雅黑" pitchFamily="34" charset="-122"/>
                <a:ea typeface="微软雅黑" pitchFamily="34" charset="-122"/>
              </a:rPr>
              <a:t>Wind</a:t>
            </a:r>
            <a:r>
              <a:rPr lang="zh-CN" altLang="en-US" sz="3200" dirty="0" smtClean="0">
                <a:latin typeface="微软雅黑" pitchFamily="34" charset="-122"/>
                <a:ea typeface="微软雅黑" pitchFamily="34" charset="-122"/>
              </a:rPr>
              <a:t>量化交易接口函数</a:t>
            </a:r>
            <a:endParaRPr lang="zh-CN" altLang="en-US" sz="3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857224" y="5857892"/>
            <a:ext cx="77867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√多账户登陆</a:t>
            </a:r>
            <a:r>
              <a:rPr lang="en-US" altLang="zh-CN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	</a:t>
            </a:r>
            <a:r>
              <a:rPr lang="zh-CN" altLang="en-US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√多品种操作</a:t>
            </a:r>
            <a:r>
              <a:rPr lang="en-US" altLang="zh-CN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	</a:t>
            </a:r>
            <a:r>
              <a:rPr lang="zh-CN" altLang="en-US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√篮子交易</a:t>
            </a:r>
            <a:r>
              <a:rPr lang="en-US" altLang="zh-CN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	</a:t>
            </a:r>
            <a:r>
              <a:rPr lang="zh-CN" altLang="en-US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√与</a:t>
            </a:r>
            <a:r>
              <a:rPr lang="en-US" altLang="zh-CN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PMS</a:t>
            </a:r>
            <a:r>
              <a:rPr lang="zh-CN" altLang="en-US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系统打通</a:t>
            </a:r>
            <a:endParaRPr lang="en-US" altLang="zh-CN" dirty="0" smtClean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Users\zxf\Desktop\捕获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472" y="1071546"/>
            <a:ext cx="5868987" cy="14954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500034" y="642918"/>
            <a:ext cx="86439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1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、模拟交易接口 就是终端模拟交易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WTTS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的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API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接口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3075" name="Picture 3" descr="C:\Users\zxf\Desktop\捕获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30235"/>
          <a:stretch/>
        </p:blipFill>
        <p:spPr bwMode="auto">
          <a:xfrm>
            <a:off x="361609" y="3212479"/>
            <a:ext cx="3941048" cy="286054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471699" y="2988928"/>
            <a:ext cx="39574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2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、用命令生成器登陆模拟交易账户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11" name="Picture 4" descr="C:\Users\zxf\Desktop\捕获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3418020"/>
            <a:ext cx="4152053" cy="265500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4499992" y="2988928"/>
            <a:ext cx="37208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3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、委托下单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撤销委托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查询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3" name="标题 1"/>
          <p:cNvSpPr txBox="1">
            <a:spLocks/>
          </p:cNvSpPr>
          <p:nvPr/>
        </p:nvSpPr>
        <p:spPr>
          <a:xfrm>
            <a:off x="755576" y="11723"/>
            <a:ext cx="7031134" cy="562074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CN" altLang="en-US" sz="3200" dirty="0" smtClean="0">
                <a:latin typeface="微软雅黑" pitchFamily="34" charset="-122"/>
                <a:ea typeface="微软雅黑" pitchFamily="34" charset="-122"/>
              </a:rPr>
              <a:t>交易接口：模拟交易</a:t>
            </a:r>
            <a:endParaRPr lang="zh-CN" altLang="en-US" sz="3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2571736" y="1785926"/>
            <a:ext cx="2928958" cy="23776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矩形 14"/>
          <p:cNvSpPr/>
          <p:nvPr/>
        </p:nvSpPr>
        <p:spPr>
          <a:xfrm>
            <a:off x="1928794" y="5072074"/>
            <a:ext cx="2357454" cy="23776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7" name="直接连接符 16"/>
          <p:cNvCxnSpPr/>
          <p:nvPr/>
        </p:nvCxnSpPr>
        <p:spPr>
          <a:xfrm flipV="1">
            <a:off x="5429256" y="1643050"/>
            <a:ext cx="1357322" cy="428628"/>
          </a:xfrm>
          <a:prstGeom prst="line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直接连接符 18"/>
          <p:cNvCxnSpPr/>
          <p:nvPr/>
        </p:nvCxnSpPr>
        <p:spPr>
          <a:xfrm rot="5400000" flipH="1" flipV="1">
            <a:off x="3821901" y="2250273"/>
            <a:ext cx="3500462" cy="2428892"/>
          </a:xfrm>
          <a:prstGeom prst="line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7000892" y="1071546"/>
            <a:ext cx="214310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模拟交易的资金账号在终端</a:t>
            </a:r>
            <a:r>
              <a:rPr lang="en-US" altLang="zh-CN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WTTS</a:t>
            </a:r>
            <a:r>
              <a:rPr lang="zh-CN" altLang="en-US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中查看</a:t>
            </a:r>
            <a:endParaRPr lang="zh-CN" altLang="en-US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6994664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 txBox="1">
            <a:spLocks/>
          </p:cNvSpPr>
          <p:nvPr/>
        </p:nvSpPr>
        <p:spPr>
          <a:xfrm>
            <a:off x="755576" y="11723"/>
            <a:ext cx="5673812" cy="562074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CN" altLang="en-US" sz="3200" dirty="0" smtClean="0">
                <a:latin typeface="微软雅黑" pitchFamily="34" charset="-122"/>
                <a:ea typeface="微软雅黑" pitchFamily="34" charset="-122"/>
              </a:rPr>
              <a:t>交易接口：实盘交易（</a:t>
            </a:r>
            <a:r>
              <a:rPr lang="en-US" altLang="zh-CN" sz="3200" dirty="0" smtClean="0">
                <a:latin typeface="微软雅黑" pitchFamily="34" charset="-122"/>
                <a:ea typeface="微软雅黑" pitchFamily="34" charset="-122"/>
              </a:rPr>
              <a:t>WTT</a:t>
            </a:r>
            <a:r>
              <a:rPr lang="zh-CN" altLang="en-US" sz="3200" dirty="0" smtClean="0">
                <a:latin typeface="微软雅黑" pitchFamily="34" charset="-122"/>
                <a:ea typeface="微软雅黑" pitchFamily="34" charset="-122"/>
              </a:rPr>
              <a:t>）</a:t>
            </a:r>
            <a:endParaRPr lang="zh-CN" altLang="en-US" sz="3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" name="内容占位符 2"/>
          <p:cNvSpPr txBox="1">
            <a:spLocks/>
          </p:cNvSpPr>
          <p:nvPr/>
        </p:nvSpPr>
        <p:spPr>
          <a:xfrm>
            <a:off x="580366" y="676357"/>
            <a:ext cx="8229600" cy="5340369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800" dirty="0">
                <a:latin typeface="微软雅黑" pitchFamily="34" charset="-122"/>
                <a:ea typeface="微软雅黑" pitchFamily="34" charset="-122"/>
              </a:rPr>
              <a:t>近</a:t>
            </a:r>
            <a:r>
              <a:rPr lang="en-US" altLang="zh-CN" sz="2800" dirty="0">
                <a:latin typeface="微软雅黑" pitchFamily="34" charset="-122"/>
                <a:ea typeface="微软雅黑" pitchFamily="34" charset="-122"/>
              </a:rPr>
              <a:t>40</a:t>
            </a:r>
            <a:r>
              <a:rPr lang="zh-CN" altLang="en-US" sz="2800" dirty="0">
                <a:latin typeface="微软雅黑" pitchFamily="34" charset="-122"/>
                <a:ea typeface="微软雅黑" pitchFamily="34" charset="-122"/>
              </a:rPr>
              <a:t>家券商</a:t>
            </a:r>
            <a:r>
              <a:rPr lang="en-US" altLang="zh-CN" sz="2800" dirty="0">
                <a:latin typeface="微软雅黑" pitchFamily="34" charset="-122"/>
                <a:ea typeface="微软雅黑" pitchFamily="34" charset="-122"/>
              </a:rPr>
              <a:t>+</a:t>
            </a:r>
            <a:r>
              <a:rPr lang="zh-CN" altLang="en-US" sz="2800" dirty="0">
                <a:latin typeface="微软雅黑" pitchFamily="34" charset="-122"/>
                <a:ea typeface="微软雅黑" pitchFamily="34" charset="-122"/>
              </a:rPr>
              <a:t>所有期货</a:t>
            </a:r>
            <a:r>
              <a:rPr lang="zh-CN" altLang="en-US" sz="2800" dirty="0" smtClean="0">
                <a:latin typeface="微软雅黑" pitchFamily="34" charset="-122"/>
                <a:ea typeface="微软雅黑" pitchFamily="34" charset="-122"/>
              </a:rPr>
              <a:t>公司</a:t>
            </a:r>
            <a:endParaRPr lang="en-US" altLang="zh-CN" sz="2800" dirty="0" smtClean="0">
              <a:latin typeface="微软雅黑" pitchFamily="34" charset="-122"/>
              <a:ea typeface="微软雅黑" pitchFamily="34" charset="-122"/>
            </a:endParaRPr>
          </a:p>
          <a:p>
            <a:r>
              <a:rPr lang="zh-CN" altLang="en-US" sz="2800" dirty="0" smtClean="0">
                <a:latin typeface="微软雅黑" pitchFamily="34" charset="-122"/>
                <a:ea typeface="微软雅黑" pitchFamily="34" charset="-122"/>
              </a:rPr>
              <a:t>（现阶段）需要下载实盘交易配置文件</a:t>
            </a:r>
            <a:endParaRPr lang="en-US" altLang="zh-CN" sz="2800" dirty="0" smtClean="0">
              <a:latin typeface="微软雅黑" pitchFamily="34" charset="-122"/>
              <a:ea typeface="微软雅黑" pitchFamily="34" charset="-122"/>
            </a:endParaRPr>
          </a:p>
          <a:p>
            <a:pPr marL="457200" lvl="1" indent="0">
              <a:buNone/>
            </a:pPr>
            <a:r>
              <a:rPr lang="zh-CN" altLang="en-US" sz="2000" dirty="0" smtClean="0">
                <a:latin typeface="微软雅黑" pitchFamily="34" charset="-122"/>
                <a:ea typeface="微软雅黑" pitchFamily="34" charset="-122"/>
              </a:rPr>
              <a:t>加入量化交易群，在群共享中下载交易配置文件</a:t>
            </a:r>
            <a:endParaRPr lang="en-US" altLang="zh-CN" sz="2000" dirty="0" smtClean="0">
              <a:latin typeface="微软雅黑" pitchFamily="34" charset="-122"/>
              <a:ea typeface="微软雅黑" pitchFamily="34" charset="-122"/>
            </a:endParaRPr>
          </a:p>
          <a:p>
            <a:pPr marL="457200" lvl="1" indent="0">
              <a:buNone/>
            </a:pPr>
            <a:r>
              <a:rPr lang="zh-CN" altLang="en-US" sz="2000" dirty="0" smtClean="0">
                <a:latin typeface="微软雅黑" pitchFamily="34" charset="-122"/>
                <a:ea typeface="微软雅黑" pitchFamily="34" charset="-122"/>
              </a:rPr>
              <a:t>覆盖 </a:t>
            </a:r>
            <a:r>
              <a:rPr lang="en-US" altLang="zh-CN" sz="2000" dirty="0">
                <a:latin typeface="微软雅黑" pitchFamily="34" charset="-122"/>
                <a:ea typeface="微软雅黑" pitchFamily="34" charset="-122"/>
              </a:rPr>
              <a:t>Wind </a:t>
            </a:r>
            <a:r>
              <a:rPr lang="zh-CN" altLang="en-US" sz="2000" dirty="0">
                <a:latin typeface="微软雅黑" pitchFamily="34" charset="-122"/>
                <a:ea typeface="微软雅黑" pitchFamily="34" charset="-122"/>
              </a:rPr>
              <a:t>终端目录</a:t>
            </a:r>
            <a:r>
              <a:rPr lang="zh-CN" altLang="en-US" sz="2000" dirty="0" smtClean="0">
                <a:latin typeface="微软雅黑" pitchFamily="34" charset="-122"/>
                <a:ea typeface="微软雅黑" pitchFamily="34" charset="-122"/>
              </a:rPr>
              <a:t>中同名文件</a:t>
            </a:r>
            <a:endParaRPr lang="en-US" altLang="zh-CN" sz="2000" dirty="0" smtClean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  <a:p>
            <a:pPr marL="0" indent="0">
              <a:buNone/>
            </a:pPr>
            <a:endParaRPr lang="en-US" altLang="zh-CN" sz="2000" dirty="0" smtClean="0">
              <a:solidFill>
                <a:srgbClr val="FF0000"/>
              </a:solidFill>
            </a:endParaRPr>
          </a:p>
        </p:txBody>
      </p:sp>
      <p:pic>
        <p:nvPicPr>
          <p:cNvPr id="4813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852" y="1196752"/>
            <a:ext cx="6470319" cy="54311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6" name="组合 7"/>
          <p:cNvGrpSpPr/>
          <p:nvPr/>
        </p:nvGrpSpPr>
        <p:grpSpPr>
          <a:xfrm>
            <a:off x="643852" y="2953255"/>
            <a:ext cx="8173714" cy="3284057"/>
            <a:chOff x="643852" y="2953255"/>
            <a:chExt cx="8173714" cy="3284057"/>
          </a:xfrm>
        </p:grpSpPr>
        <p:pic>
          <p:nvPicPr>
            <p:cNvPr id="28674" name="Picture 2" descr="C:\Users\zxf\Desktop\截图未命名.jp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72000" y="2969380"/>
              <a:ext cx="4245566" cy="3267932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8" name="组合 5"/>
            <p:cNvGrpSpPr/>
            <p:nvPr/>
          </p:nvGrpSpPr>
          <p:grpSpPr>
            <a:xfrm>
              <a:off x="643852" y="2953255"/>
              <a:ext cx="3752168" cy="3212049"/>
              <a:chOff x="643852" y="2953255"/>
              <a:chExt cx="3752168" cy="3212049"/>
            </a:xfrm>
          </p:grpSpPr>
          <p:pic>
            <p:nvPicPr>
              <p:cNvPr id="5" name="Picture 9" descr="C:\Users\zxf\Desktop\捕获.PNG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43852" y="2953255"/>
                <a:ext cx="3752168" cy="30415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8675" name="Picture 3" descr="C:\Users\zxf\Desktop\截图未命名.jpg"/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78877" y="3435672"/>
                <a:ext cx="3410610" cy="272963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" name="矩形 3"/>
              <p:cNvSpPr/>
              <p:nvPr/>
            </p:nvSpPr>
            <p:spPr>
              <a:xfrm>
                <a:off x="3203848" y="2969381"/>
                <a:ext cx="216024" cy="288031"/>
              </a:xfrm>
              <a:prstGeom prst="rect">
                <a:avLst/>
              </a:pr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cxnSp>
            <p:nvCxnSpPr>
              <p:cNvPr id="7" name="直接箭头连接符 6"/>
              <p:cNvCxnSpPr/>
              <p:nvPr/>
            </p:nvCxnSpPr>
            <p:spPr>
              <a:xfrm>
                <a:off x="3311860" y="3257412"/>
                <a:ext cx="0" cy="178260"/>
              </a:xfrm>
              <a:prstGeom prst="straightConnector1">
                <a:avLst/>
              </a:prstGeom>
              <a:ln w="19050">
                <a:solidFill>
                  <a:srgbClr val="FF0000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="" xmlns:p14="http://schemas.microsoft.com/office/powerpoint/2010/main" val="8196229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500"/>
                                        <p:tgtEl>
                                          <p:spTgt spid="481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8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15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88640"/>
            <a:ext cx="7462416" cy="6430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4703185" y="404664"/>
            <a:ext cx="414337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最精简的示例：</a:t>
            </a:r>
            <a:endParaRPr lang="en-US" altLang="zh-CN" dirty="0" smtClean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  <a:p>
            <a:r>
              <a:rPr lang="zh-CN" altLang="en-US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登陆、委托下单</a:t>
            </a:r>
            <a:r>
              <a:rPr lang="en-US" altLang="zh-CN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(</a:t>
            </a:r>
            <a:r>
              <a:rPr lang="zh-CN" altLang="en-US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浦发和白云</a:t>
            </a:r>
            <a:r>
              <a:rPr lang="en-US" altLang="zh-CN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)</a:t>
            </a:r>
            <a:r>
              <a:rPr lang="zh-CN" altLang="en-US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、查询委托、撤单浦发</a:t>
            </a:r>
            <a:endParaRPr lang="zh-CN" altLang="en-US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/>
        </p:nvSpPr>
        <p:spPr>
          <a:xfrm>
            <a:off x="2927340" y="1637992"/>
            <a:ext cx="1081087" cy="3524253"/>
          </a:xfrm>
          <a:prstGeom prst="rect">
            <a:avLst/>
          </a:prstGeom>
          <a:solidFill>
            <a:schemeClr val="bg1">
              <a:alpha val="43137"/>
            </a:schemeClr>
          </a:solidFill>
          <a:ln w="158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1400" b="0">
              <a:ea typeface="华文细黑" pitchFamily="2" charset="-122"/>
            </a:endParaRPr>
          </a:p>
        </p:txBody>
      </p:sp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071802" y="4066884"/>
            <a:ext cx="806450" cy="433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7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143240" y="1709430"/>
            <a:ext cx="590550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8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071802" y="2915943"/>
            <a:ext cx="712788" cy="650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Box 18"/>
          <p:cNvSpPr txBox="1">
            <a:spLocks noChangeArrowheads="1"/>
          </p:cNvSpPr>
          <p:nvPr/>
        </p:nvSpPr>
        <p:spPr bwMode="auto">
          <a:xfrm>
            <a:off x="1928794" y="2995314"/>
            <a:ext cx="104298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zh-CN" altLang="en-US" sz="1400" b="0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数据</a:t>
            </a:r>
            <a:r>
              <a:rPr lang="zh-CN" altLang="en-US" sz="1400" b="0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接口</a:t>
            </a:r>
          </a:p>
        </p:txBody>
      </p:sp>
      <p:sp>
        <p:nvSpPr>
          <p:cNvPr id="8" name="TextBox 26"/>
          <p:cNvSpPr txBox="1">
            <a:spLocks noChangeArrowheads="1"/>
          </p:cNvSpPr>
          <p:nvPr/>
        </p:nvSpPr>
        <p:spPr bwMode="auto">
          <a:xfrm>
            <a:off x="7166588" y="1285803"/>
            <a:ext cx="108234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CN" altLang="en-US" sz="1400" b="0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经纪商柜台</a:t>
            </a:r>
            <a:endParaRPr lang="zh-CN" altLang="en-US" sz="1400" b="0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6"/>
          <a:srcRect/>
          <a:stretch>
            <a:fillRect/>
          </a:stretch>
        </p:blipFill>
        <p:spPr bwMode="auto">
          <a:xfrm>
            <a:off x="3214678" y="2423810"/>
            <a:ext cx="433081" cy="4254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26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214678" y="3495380"/>
            <a:ext cx="439738" cy="458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右箭头 10"/>
          <p:cNvSpPr/>
          <p:nvPr/>
        </p:nvSpPr>
        <p:spPr>
          <a:xfrm>
            <a:off x="2000231" y="3281066"/>
            <a:ext cx="857257" cy="214315"/>
          </a:xfrm>
          <a:prstGeom prst="rightArrow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1400" b="0">
              <a:ea typeface="华文细黑" pitchFamily="2" charset="-122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4929190" y="2138058"/>
            <a:ext cx="1008000" cy="648000"/>
          </a:xfrm>
          <a:prstGeom prst="rect">
            <a:avLst/>
          </a:prstGeom>
          <a:solidFill>
            <a:schemeClr val="accent1">
              <a:lumMod val="60000"/>
              <a:lumOff val="40000"/>
              <a:alpha val="43000"/>
            </a:schemeClr>
          </a:solidFill>
          <a:ln w="127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CN" sz="1400" b="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WTT</a:t>
            </a:r>
          </a:p>
          <a:p>
            <a:pPr algn="ctr">
              <a:defRPr/>
            </a:pPr>
            <a:r>
              <a:rPr lang="zh-CN" altLang="en-US" sz="1400" b="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超级交易</a:t>
            </a:r>
            <a:endParaRPr lang="en-US" altLang="zh-CN" sz="1400" b="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3" name="TextBox 18"/>
          <p:cNvSpPr txBox="1">
            <a:spLocks noChangeArrowheads="1"/>
          </p:cNvSpPr>
          <p:nvPr/>
        </p:nvSpPr>
        <p:spPr bwMode="auto">
          <a:xfrm>
            <a:off x="4000496" y="2066620"/>
            <a:ext cx="100013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zh-CN" altLang="en-US" sz="1400" b="0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交易</a:t>
            </a:r>
            <a:r>
              <a:rPr lang="zh-CN" altLang="en-US" sz="1400" b="0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接口</a:t>
            </a:r>
          </a:p>
        </p:txBody>
      </p:sp>
      <p:sp>
        <p:nvSpPr>
          <p:cNvPr id="14" name="矩形 13"/>
          <p:cNvSpPr/>
          <p:nvPr/>
        </p:nvSpPr>
        <p:spPr>
          <a:xfrm>
            <a:off x="4929190" y="4516131"/>
            <a:ext cx="1008000" cy="648000"/>
          </a:xfrm>
          <a:prstGeom prst="rect">
            <a:avLst/>
          </a:prstGeom>
          <a:solidFill>
            <a:schemeClr val="accent1">
              <a:lumMod val="60000"/>
              <a:lumOff val="40000"/>
              <a:alpha val="43000"/>
            </a:schemeClr>
          </a:solidFill>
          <a:ln w="127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CN" sz="1400" b="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WTTS</a:t>
            </a:r>
          </a:p>
          <a:p>
            <a:pPr algn="ctr">
              <a:defRPr/>
            </a:pPr>
            <a:r>
              <a:rPr lang="zh-CN" altLang="en-US" sz="1400" b="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模拟</a:t>
            </a:r>
            <a:r>
              <a:rPr lang="zh-CN" altLang="en-US" sz="1400" b="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交易</a:t>
            </a:r>
            <a:endParaRPr lang="en-US" altLang="zh-CN" sz="1400" b="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4929190" y="3281066"/>
            <a:ext cx="1008000" cy="648000"/>
          </a:xfrm>
          <a:prstGeom prst="rect">
            <a:avLst/>
          </a:prstGeom>
          <a:solidFill>
            <a:schemeClr val="accent1">
              <a:lumMod val="60000"/>
              <a:lumOff val="40000"/>
              <a:alpha val="43000"/>
            </a:schemeClr>
          </a:solidFill>
          <a:ln w="127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CN" sz="1400" b="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AMS</a:t>
            </a:r>
          </a:p>
          <a:p>
            <a:pPr algn="ctr">
              <a:defRPr/>
            </a:pPr>
            <a:r>
              <a:rPr lang="zh-CN" altLang="en-US" sz="1400" b="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资产管理</a:t>
            </a:r>
          </a:p>
        </p:txBody>
      </p:sp>
      <p:sp>
        <p:nvSpPr>
          <p:cNvPr id="16" name="矩形 15"/>
          <p:cNvSpPr/>
          <p:nvPr/>
        </p:nvSpPr>
        <p:spPr>
          <a:xfrm>
            <a:off x="4929190" y="5638520"/>
            <a:ext cx="1008000" cy="648000"/>
          </a:xfrm>
          <a:prstGeom prst="rect">
            <a:avLst/>
          </a:prstGeom>
          <a:solidFill>
            <a:schemeClr val="accent1">
              <a:lumMod val="60000"/>
              <a:lumOff val="40000"/>
              <a:alpha val="43000"/>
            </a:schemeClr>
          </a:solidFill>
          <a:ln w="127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CN" sz="1400" b="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PMS</a:t>
            </a:r>
          </a:p>
          <a:p>
            <a:pPr algn="ctr">
              <a:defRPr/>
            </a:pPr>
            <a:r>
              <a:rPr lang="zh-CN" altLang="en-US" sz="1400" b="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组合管理</a:t>
            </a:r>
          </a:p>
        </p:txBody>
      </p:sp>
      <p:sp>
        <p:nvSpPr>
          <p:cNvPr id="18" name="右箭头 17"/>
          <p:cNvSpPr/>
          <p:nvPr/>
        </p:nvSpPr>
        <p:spPr>
          <a:xfrm>
            <a:off x="4143372" y="2371705"/>
            <a:ext cx="642942" cy="214315"/>
          </a:xfrm>
          <a:prstGeom prst="rightArrow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1400" b="0">
              <a:ea typeface="华文细黑" pitchFamily="2" charset="-122"/>
            </a:endParaRPr>
          </a:p>
        </p:txBody>
      </p:sp>
      <p:sp>
        <p:nvSpPr>
          <p:cNvPr id="19" name="右箭头 18"/>
          <p:cNvSpPr/>
          <p:nvPr/>
        </p:nvSpPr>
        <p:spPr>
          <a:xfrm>
            <a:off x="4143372" y="4709826"/>
            <a:ext cx="642942" cy="214315"/>
          </a:xfrm>
          <a:prstGeom prst="rightArrow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1400" b="0">
              <a:ea typeface="华文细黑" pitchFamily="2" charset="-122"/>
            </a:endParaRPr>
          </a:p>
        </p:txBody>
      </p:sp>
      <p:sp>
        <p:nvSpPr>
          <p:cNvPr id="20" name="右箭头 19"/>
          <p:cNvSpPr/>
          <p:nvPr/>
        </p:nvSpPr>
        <p:spPr>
          <a:xfrm>
            <a:off x="6000760" y="2352372"/>
            <a:ext cx="428628" cy="214314"/>
          </a:xfrm>
          <a:prstGeom prst="rightArrow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1400" b="0">
              <a:ea typeface="华文细黑" pitchFamily="2" charset="-122"/>
            </a:endParaRPr>
          </a:p>
        </p:txBody>
      </p:sp>
      <p:sp>
        <p:nvSpPr>
          <p:cNvPr id="21" name="右箭头 20"/>
          <p:cNvSpPr/>
          <p:nvPr/>
        </p:nvSpPr>
        <p:spPr>
          <a:xfrm rot="5400000">
            <a:off x="5286378" y="2923876"/>
            <a:ext cx="357192" cy="21431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1400" b="0">
              <a:ea typeface="华文细黑" pitchFamily="2" charset="-122"/>
            </a:endParaRPr>
          </a:p>
        </p:txBody>
      </p:sp>
      <p:sp>
        <p:nvSpPr>
          <p:cNvPr id="22" name="右箭头 21"/>
          <p:cNvSpPr/>
          <p:nvPr/>
        </p:nvSpPr>
        <p:spPr>
          <a:xfrm>
            <a:off x="6000760" y="4709826"/>
            <a:ext cx="428628" cy="214314"/>
          </a:xfrm>
          <a:prstGeom prst="rightArrow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1400" b="0">
              <a:ea typeface="华文细黑" pitchFamily="2" charset="-122"/>
            </a:endParaRPr>
          </a:p>
        </p:txBody>
      </p:sp>
      <p:sp>
        <p:nvSpPr>
          <p:cNvPr id="23" name="右箭头 22"/>
          <p:cNvSpPr/>
          <p:nvPr/>
        </p:nvSpPr>
        <p:spPr>
          <a:xfrm rot="5400000">
            <a:off x="5286379" y="5281331"/>
            <a:ext cx="357192" cy="214315"/>
          </a:xfrm>
          <a:prstGeom prst="rightArrow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1400" b="0">
              <a:ea typeface="华文细黑" pitchFamily="2" charset="-122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6500826" y="4495512"/>
            <a:ext cx="2357454" cy="648000"/>
          </a:xfrm>
          <a:prstGeom prst="rect">
            <a:avLst/>
          </a:prstGeom>
          <a:solidFill>
            <a:schemeClr val="accent1">
              <a:lumMod val="60000"/>
              <a:lumOff val="40000"/>
              <a:alpha val="43000"/>
            </a:schemeClr>
          </a:solidFill>
          <a:ln w="127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CN" sz="1600" b="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Wind</a:t>
            </a:r>
          </a:p>
          <a:p>
            <a:pPr algn="ctr">
              <a:defRPr/>
            </a:pPr>
            <a:r>
              <a:rPr lang="zh-CN" altLang="en-US" sz="1600" b="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模拟</a:t>
            </a:r>
            <a:r>
              <a:rPr lang="zh-CN" altLang="en-US" sz="1600" b="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柜台</a:t>
            </a:r>
          </a:p>
        </p:txBody>
      </p:sp>
      <p:sp>
        <p:nvSpPr>
          <p:cNvPr id="26" name="矩形 25"/>
          <p:cNvSpPr/>
          <p:nvPr/>
        </p:nvSpPr>
        <p:spPr>
          <a:xfrm>
            <a:off x="3000364" y="1280802"/>
            <a:ext cx="902811" cy="3127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400" b="0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通用平台</a:t>
            </a:r>
            <a:endParaRPr lang="zh-CN" altLang="en-US" sz="1400" b="0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46" name="Picture 24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3176582" y="4615144"/>
            <a:ext cx="609600" cy="4518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0" name="矩形 49"/>
          <p:cNvSpPr/>
          <p:nvPr/>
        </p:nvSpPr>
        <p:spPr>
          <a:xfrm>
            <a:off x="928662" y="2352372"/>
            <a:ext cx="1000132" cy="2071702"/>
          </a:xfrm>
          <a:prstGeom prst="rect">
            <a:avLst/>
          </a:prstGeom>
          <a:solidFill>
            <a:srgbClr val="00B0F0">
              <a:alpha val="43000"/>
            </a:srgbClr>
          </a:solidFill>
          <a:ln w="127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证券资料</a:t>
            </a:r>
            <a:endParaRPr lang="en-US" altLang="zh-CN" sz="1400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defRPr/>
            </a:pP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行业概念</a:t>
            </a:r>
            <a:endParaRPr lang="en-US" altLang="zh-CN" sz="1400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defRPr/>
            </a:pP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历史行情</a:t>
            </a:r>
            <a:endParaRPr lang="en-US" altLang="zh-CN" sz="1400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defRPr/>
            </a:pP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实时行情</a:t>
            </a:r>
            <a:endParaRPr lang="en-US" altLang="zh-CN" sz="1400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defRPr/>
            </a:pPr>
            <a:r>
              <a:rPr lang="zh-CN" altLang="en-US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财务</a:t>
            </a: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数据</a:t>
            </a:r>
            <a:endParaRPr lang="en-US" altLang="zh-CN" sz="1400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defRPr/>
            </a:pPr>
            <a:r>
              <a:rPr lang="zh-CN" altLang="en-US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预测评级</a:t>
            </a:r>
            <a:endParaRPr lang="en-US" altLang="zh-CN" sz="1400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defRPr/>
            </a:pP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公司事件</a:t>
            </a:r>
            <a:endParaRPr lang="en-US" altLang="zh-CN" sz="1400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defRPr/>
            </a:pPr>
            <a:r>
              <a:rPr lang="zh-CN" altLang="en-US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报表</a:t>
            </a: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数据</a:t>
            </a:r>
            <a:endParaRPr lang="en-US" altLang="zh-CN" sz="1400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defRPr/>
            </a:pPr>
            <a:r>
              <a:rPr lang="zh-CN" altLang="en-US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宏观</a:t>
            </a: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数据</a:t>
            </a:r>
          </a:p>
        </p:txBody>
      </p:sp>
      <p:sp>
        <p:nvSpPr>
          <p:cNvPr id="52" name="矩形 51"/>
          <p:cNvSpPr/>
          <p:nvPr/>
        </p:nvSpPr>
        <p:spPr>
          <a:xfrm>
            <a:off x="285752" y="2352372"/>
            <a:ext cx="642910" cy="2071702"/>
          </a:xfrm>
          <a:prstGeom prst="rect">
            <a:avLst/>
          </a:prstGeom>
          <a:solidFill>
            <a:srgbClr val="00B050">
              <a:alpha val="43000"/>
            </a:srgbClr>
          </a:solidFill>
          <a:ln w="127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zh-CN" altLang="en-US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股票</a:t>
            </a:r>
            <a:endParaRPr lang="en-US" altLang="zh-CN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defRPr/>
            </a:pPr>
            <a:r>
              <a:rPr lang="zh-CN" altLang="en-US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债券期货</a:t>
            </a:r>
            <a:endParaRPr lang="en-US" altLang="zh-CN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defRPr/>
            </a:pPr>
            <a:r>
              <a:rPr lang="zh-CN" altLang="en-US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基金</a:t>
            </a:r>
            <a:endParaRPr lang="en-US" altLang="zh-CN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defRPr/>
            </a:pPr>
            <a:r>
              <a:rPr lang="zh-CN" altLang="en-US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外汇</a:t>
            </a:r>
            <a:endParaRPr lang="en-US" altLang="zh-CN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defRPr/>
            </a:pPr>
            <a:r>
              <a:rPr lang="zh-CN" altLang="en-US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指数</a:t>
            </a:r>
            <a:endParaRPr lang="en-US" altLang="zh-CN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defRPr/>
            </a:pPr>
            <a:r>
              <a:rPr lang="zh-CN" altLang="en-US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期权</a:t>
            </a:r>
            <a:endParaRPr lang="en-US" altLang="zh-CN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3" name="TextBox 18"/>
          <p:cNvSpPr txBox="1">
            <a:spLocks noChangeArrowheads="1"/>
          </p:cNvSpPr>
          <p:nvPr/>
        </p:nvSpPr>
        <p:spPr bwMode="auto">
          <a:xfrm>
            <a:off x="4000496" y="4424074"/>
            <a:ext cx="100013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zh-CN" altLang="en-US" sz="1400" b="0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交易</a:t>
            </a:r>
            <a:r>
              <a:rPr lang="zh-CN" altLang="en-US" sz="1400" b="0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接口</a:t>
            </a:r>
          </a:p>
        </p:txBody>
      </p:sp>
      <p:sp>
        <p:nvSpPr>
          <p:cNvPr id="54" name="矩形 53"/>
          <p:cNvSpPr/>
          <p:nvPr/>
        </p:nvSpPr>
        <p:spPr>
          <a:xfrm>
            <a:off x="6429388" y="2143116"/>
            <a:ext cx="2571768" cy="648000"/>
          </a:xfrm>
          <a:prstGeom prst="rect">
            <a:avLst/>
          </a:prstGeom>
          <a:solidFill>
            <a:schemeClr val="accent1">
              <a:lumMod val="60000"/>
              <a:lumOff val="40000"/>
              <a:alpha val="43000"/>
            </a:schemeClr>
          </a:solidFill>
          <a:ln w="127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600" b="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近</a:t>
            </a:r>
            <a:r>
              <a:rPr lang="en-US" altLang="zh-CN" sz="1600" b="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40</a:t>
            </a:r>
            <a:r>
              <a:rPr lang="zh-CN" altLang="en-US" sz="1600" b="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家券商</a:t>
            </a:r>
            <a:r>
              <a:rPr lang="en-US" altLang="zh-CN" sz="1600" b="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+</a:t>
            </a:r>
            <a:r>
              <a:rPr lang="zh-CN" altLang="en-US" sz="1600" b="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所有期货</a:t>
            </a:r>
            <a:r>
              <a:rPr lang="zh-CN" altLang="en-US" sz="16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公司</a:t>
            </a:r>
            <a:endParaRPr lang="zh-CN" altLang="en-US" sz="1600" b="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1" name="标题 1"/>
          <p:cNvSpPr txBox="1">
            <a:spLocks/>
          </p:cNvSpPr>
          <p:nvPr/>
        </p:nvSpPr>
        <p:spPr>
          <a:xfrm>
            <a:off x="755576" y="11723"/>
            <a:ext cx="6388192" cy="562074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zh-CN" sz="3200" dirty="0" smtClean="0">
                <a:latin typeface="微软雅黑" pitchFamily="34" charset="-122"/>
                <a:ea typeface="微软雅黑" pitchFamily="34" charset="-122"/>
              </a:rPr>
              <a:t>Wind</a:t>
            </a:r>
            <a:r>
              <a:rPr lang="zh-CN" altLang="en-US" sz="3200" dirty="0" smtClean="0">
                <a:latin typeface="微软雅黑" pitchFamily="34" charset="-122"/>
                <a:ea typeface="微软雅黑" pitchFamily="34" charset="-122"/>
              </a:rPr>
              <a:t>量化平台：架构</a:t>
            </a:r>
          </a:p>
          <a:p>
            <a:pPr algn="l"/>
            <a:endParaRPr lang="zh-CN" altLang="en-US" sz="3200" dirty="0" smtClean="0">
              <a:latin typeface="微软雅黑" pitchFamily="34" charset="-122"/>
              <a:ea typeface="微软雅黑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8" fill="hold">
                      <p:stCondLst>
                        <p:cond delay="indefinite"/>
                      </p:stCondLst>
                      <p:childTnLst>
                        <p:par>
                          <p:cTn id="89" fill="hold">
                            <p:stCondLst>
                              <p:cond delay="0"/>
                            </p:stCondLst>
                            <p:childTnLst>
                              <p:par>
                                <p:cTn id="9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7" grpId="0"/>
      <p:bldP spid="8" grpId="0"/>
      <p:bldP spid="11" grpId="0" animBg="1"/>
      <p:bldP spid="12" grpId="0" animBg="1"/>
      <p:bldP spid="13" grpId="0"/>
      <p:bldP spid="14" grpId="0" animBg="1"/>
      <p:bldP spid="15" grpId="0" animBg="1"/>
      <p:bldP spid="16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5" grpId="0" animBg="1"/>
      <p:bldP spid="26" grpId="0"/>
      <p:bldP spid="50" grpId="0" animBg="1"/>
      <p:bldP spid="52" grpId="0" animBg="1"/>
      <p:bldP spid="53" grpId="0"/>
      <p:bldP spid="54" grpId="0" animBg="1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1"/>
          <p:cNvSpPr txBox="1">
            <a:spLocks/>
          </p:cNvSpPr>
          <p:nvPr/>
        </p:nvSpPr>
        <p:spPr>
          <a:xfrm>
            <a:off x="755575" y="11723"/>
            <a:ext cx="6624737" cy="562074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zh-CN" sz="3200" dirty="0" smtClean="0">
                <a:latin typeface="微软雅黑" pitchFamily="34" charset="-122"/>
                <a:ea typeface="微软雅黑" pitchFamily="34" charset="-122"/>
              </a:rPr>
              <a:t>Wind</a:t>
            </a:r>
            <a:r>
              <a:rPr lang="zh-CN" altLang="en-US" sz="3200" dirty="0" smtClean="0">
                <a:latin typeface="微软雅黑" pitchFamily="34" charset="-122"/>
                <a:ea typeface="微软雅黑" pitchFamily="34" charset="-122"/>
              </a:rPr>
              <a:t>量化交易接示例</a:t>
            </a:r>
            <a:endParaRPr lang="zh-CN" altLang="en-US" sz="3200" dirty="0"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4813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467" y="1237169"/>
            <a:ext cx="8315325" cy="1924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矩形 3"/>
          <p:cNvSpPr/>
          <p:nvPr/>
        </p:nvSpPr>
        <p:spPr>
          <a:xfrm>
            <a:off x="3851920" y="2199194"/>
            <a:ext cx="773286" cy="72575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="" xmlns:p14="http://schemas.microsoft.com/office/powerpoint/2010/main" val="32585847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C:\Users\zxf\Desktop\untitled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6357" r="6159"/>
          <a:stretch/>
        </p:blipFill>
        <p:spPr bwMode="auto">
          <a:xfrm>
            <a:off x="211872" y="3612394"/>
            <a:ext cx="4409729" cy="265747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9" name="Picture 3" descr="C:\Users\zxf\Desktop\捕获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1601" y="3783358"/>
            <a:ext cx="4297332" cy="242414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矩形 3"/>
          <p:cNvSpPr/>
          <p:nvPr/>
        </p:nvSpPr>
        <p:spPr>
          <a:xfrm>
            <a:off x="431634" y="750214"/>
            <a:ext cx="8640960" cy="2893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600" dirty="0" smtClean="0">
                <a:solidFill>
                  <a:srgbClr val="00B050"/>
                </a:solidFill>
                <a:latin typeface="微软雅黑" pitchFamily="34" charset="-122"/>
                <a:ea typeface="微软雅黑" pitchFamily="34" charset="-122"/>
              </a:rPr>
              <a:t>% </a:t>
            </a:r>
            <a:r>
              <a:rPr lang="zh-CN" altLang="en-US" sz="1600" dirty="0" smtClean="0">
                <a:solidFill>
                  <a:srgbClr val="00B050"/>
                </a:solidFill>
                <a:latin typeface="微软雅黑" pitchFamily="34" charset="-122"/>
                <a:ea typeface="微软雅黑" pitchFamily="34" charset="-122"/>
              </a:rPr>
              <a:t>查询组合日结算数据</a:t>
            </a:r>
            <a:endParaRPr lang="en-US" altLang="zh-CN" sz="1600" dirty="0" smtClean="0">
              <a:solidFill>
                <a:srgbClr val="00B050"/>
              </a:solidFill>
              <a:latin typeface="微软雅黑" pitchFamily="34" charset="-122"/>
              <a:ea typeface="微软雅黑" pitchFamily="34" charset="-122"/>
            </a:endParaRPr>
          </a:p>
          <a:p>
            <a:r>
              <a:rPr lang="en-US" altLang="zh-CN" sz="1600" dirty="0" smtClean="0"/>
              <a:t>[w_wpf_data,w_wpf_codes,w_wpf_fields,w_wpf_times,w_wpf_errorid,w_wpf_reqid]</a:t>
            </a:r>
          </a:p>
          <a:p>
            <a:r>
              <a:rPr lang="en-US" altLang="zh-CN" sz="1600" dirty="0" smtClean="0"/>
              <a:t>  =</a:t>
            </a:r>
            <a:r>
              <a:rPr lang="en-US" altLang="zh-CN" sz="1600" b="1" dirty="0" smtClean="0">
                <a:solidFill>
                  <a:srgbClr val="FF0000"/>
                </a:solidFill>
              </a:rPr>
              <a:t>w.wpf</a:t>
            </a:r>
            <a:r>
              <a:rPr lang="en-US" altLang="zh-CN" sz="1600" dirty="0" smtClean="0">
                <a:solidFill>
                  <a:schemeClr val="accent4"/>
                </a:solidFill>
              </a:rPr>
              <a:t>('</a:t>
            </a:r>
            <a:r>
              <a:rPr lang="zh-CN" altLang="en-US" sz="1600" dirty="0" smtClean="0">
                <a:solidFill>
                  <a:schemeClr val="accent4"/>
                </a:solidFill>
                <a:latin typeface="微软雅黑" pitchFamily="34" charset="-122"/>
                <a:ea typeface="微软雅黑" pitchFamily="34" charset="-122"/>
              </a:rPr>
              <a:t>国信金工－低风险策略组合</a:t>
            </a:r>
            <a:r>
              <a:rPr lang="en-US" altLang="zh-CN" sz="1600" dirty="0" smtClean="0">
                <a:solidFill>
                  <a:schemeClr val="accent4"/>
                </a:solidFill>
              </a:rPr>
              <a:t>'</a:t>
            </a:r>
            <a:r>
              <a:rPr lang="en-US" altLang="zh-CN" sz="1600" dirty="0" smtClean="0"/>
              <a:t>, </a:t>
            </a:r>
            <a:r>
              <a:rPr lang="en-US" altLang="zh-CN" sz="1600" dirty="0" smtClean="0">
                <a:solidFill>
                  <a:schemeClr val="accent4"/>
                </a:solidFill>
              </a:rPr>
              <a:t>'</a:t>
            </a:r>
            <a:r>
              <a:rPr lang="en-US" altLang="zh-CN" sz="1600" dirty="0" err="1" smtClean="0">
                <a:solidFill>
                  <a:schemeClr val="accent4"/>
                </a:solidFill>
              </a:rPr>
              <a:t>PMS.PortfolioDaily</a:t>
            </a:r>
            <a:r>
              <a:rPr lang="en-US" altLang="zh-CN" sz="1600" dirty="0" smtClean="0">
                <a:solidFill>
                  <a:schemeClr val="accent4"/>
                </a:solidFill>
              </a:rPr>
              <a:t>', '</a:t>
            </a:r>
            <a:r>
              <a:rPr lang="en-US" altLang="zh-CN" sz="1600" dirty="0" err="1" smtClean="0">
                <a:solidFill>
                  <a:schemeClr val="accent4"/>
                </a:solidFill>
              </a:rPr>
              <a:t>startdate</a:t>
            </a:r>
            <a:r>
              <a:rPr lang="en-US" altLang="zh-CN" sz="1600" dirty="0" smtClean="0">
                <a:solidFill>
                  <a:schemeClr val="accent4"/>
                </a:solidFill>
              </a:rPr>
              <a:t>=20140330;enddate=20140921;reportcurrency=</a:t>
            </a:r>
            <a:r>
              <a:rPr lang="en-US" altLang="zh-CN" sz="1600" dirty="0" err="1" smtClean="0">
                <a:solidFill>
                  <a:schemeClr val="accent4"/>
                </a:solidFill>
              </a:rPr>
              <a:t>CNY;owner</a:t>
            </a:r>
            <a:r>
              <a:rPr lang="en-US" altLang="zh-CN" sz="1600" dirty="0" smtClean="0">
                <a:solidFill>
                  <a:schemeClr val="accent4"/>
                </a:solidFill>
              </a:rPr>
              <a:t>=Wcc307'</a:t>
            </a:r>
            <a:r>
              <a:rPr lang="en-US" altLang="zh-CN" sz="1600" dirty="0" smtClean="0"/>
              <a:t>)</a:t>
            </a:r>
          </a:p>
          <a:p>
            <a:endParaRPr lang="en-US" altLang="zh-CN" sz="1600" dirty="0" smtClean="0"/>
          </a:p>
          <a:p>
            <a:r>
              <a:rPr lang="en-US" altLang="zh-CN" sz="1600" dirty="0" smtClean="0">
                <a:solidFill>
                  <a:srgbClr val="00B050"/>
                </a:solidFill>
                <a:latin typeface="微软雅黑" pitchFamily="34" charset="-122"/>
                <a:ea typeface="微软雅黑" pitchFamily="34" charset="-122"/>
              </a:rPr>
              <a:t>% </a:t>
            </a:r>
            <a:r>
              <a:rPr lang="zh-CN" altLang="en-US" sz="1600" dirty="0">
                <a:solidFill>
                  <a:srgbClr val="00B050"/>
                </a:solidFill>
                <a:latin typeface="微软雅黑" pitchFamily="34" charset="-122"/>
                <a:ea typeface="微软雅黑" pitchFamily="34" charset="-122"/>
              </a:rPr>
              <a:t>统计累计收益</a:t>
            </a:r>
            <a:endParaRPr lang="en-US" altLang="zh-CN" sz="1600" dirty="0">
              <a:solidFill>
                <a:srgbClr val="00B050"/>
              </a:solidFill>
              <a:latin typeface="微软雅黑" pitchFamily="34" charset="-122"/>
              <a:ea typeface="微软雅黑" pitchFamily="34" charset="-122"/>
            </a:endParaRPr>
          </a:p>
          <a:p>
            <a:r>
              <a:rPr lang="en-US" altLang="zh-CN" sz="1600" dirty="0" err="1" smtClean="0"/>
              <a:t>NumberDays</a:t>
            </a:r>
            <a:r>
              <a:rPr lang="en-US" altLang="zh-CN" sz="1600" dirty="0" smtClean="0"/>
              <a:t> </a:t>
            </a:r>
            <a:r>
              <a:rPr lang="en-US" altLang="zh-CN" sz="1600" dirty="0"/>
              <a:t>= length(</a:t>
            </a:r>
            <a:r>
              <a:rPr lang="en-US" altLang="zh-CN" sz="1600" dirty="0" err="1"/>
              <a:t>w_wpf_data</a:t>
            </a:r>
            <a:r>
              <a:rPr lang="en-US" altLang="zh-CN" sz="1600" dirty="0" smtClean="0"/>
              <a:t>);</a:t>
            </a:r>
          </a:p>
          <a:p>
            <a:r>
              <a:rPr lang="en-US" altLang="zh-CN" sz="1600" dirty="0" err="1"/>
              <a:t>pl</a:t>
            </a:r>
            <a:r>
              <a:rPr lang="en-US" altLang="zh-CN" sz="1600" dirty="0"/>
              <a:t>(1) = </a:t>
            </a:r>
            <a:r>
              <a:rPr lang="en-US" altLang="zh-CN" sz="1600" dirty="0" err="1"/>
              <a:t>w_wpf_data</a:t>
            </a:r>
            <a:r>
              <a:rPr lang="en-US" altLang="zh-CN" sz="1600" dirty="0"/>
              <a:t>{1,11}; </a:t>
            </a:r>
            <a:r>
              <a:rPr lang="da-DK" altLang="zh-CN" sz="1600" dirty="0"/>
              <a:t>for i = </a:t>
            </a:r>
            <a:r>
              <a:rPr lang="da-DK" altLang="zh-CN" sz="1600" dirty="0" smtClean="0"/>
              <a:t>2:</a:t>
            </a:r>
            <a:r>
              <a:rPr lang="en-US" altLang="zh-CN" sz="1600" dirty="0"/>
              <a:t> </a:t>
            </a:r>
            <a:r>
              <a:rPr lang="en-US" altLang="zh-CN" sz="1600" dirty="0" err="1"/>
              <a:t>NumberDays</a:t>
            </a:r>
            <a:r>
              <a:rPr lang="da-DK" altLang="zh-CN" sz="1600" dirty="0" smtClean="0"/>
              <a:t> pl(i</a:t>
            </a:r>
            <a:r>
              <a:rPr lang="da-DK" altLang="zh-CN" sz="1600" dirty="0"/>
              <a:t>) = pl(i-1) + w_wpf_data{i,11}; </a:t>
            </a:r>
            <a:r>
              <a:rPr lang="da-DK" altLang="zh-CN" sz="1600" dirty="0" smtClean="0"/>
              <a:t>end</a:t>
            </a:r>
          </a:p>
          <a:p>
            <a:endParaRPr lang="da-DK" altLang="zh-CN" sz="1600" dirty="0"/>
          </a:p>
          <a:p>
            <a:r>
              <a:rPr lang="da-DK" altLang="zh-CN" sz="1600" dirty="0" smtClean="0">
                <a:solidFill>
                  <a:srgbClr val="00B050"/>
                </a:solidFill>
                <a:latin typeface="微软雅黑" pitchFamily="34" charset="-122"/>
                <a:ea typeface="微软雅黑" pitchFamily="34" charset="-122"/>
              </a:rPr>
              <a:t>% </a:t>
            </a:r>
            <a:r>
              <a:rPr lang="zh-CN" altLang="en-US" sz="1600" dirty="0" smtClean="0">
                <a:solidFill>
                  <a:srgbClr val="00B050"/>
                </a:solidFill>
                <a:latin typeface="微软雅黑" pitchFamily="34" charset="-122"/>
                <a:ea typeface="微软雅黑" pitchFamily="34" charset="-122"/>
              </a:rPr>
              <a:t>画图</a:t>
            </a:r>
            <a:endParaRPr lang="en-US" altLang="zh-CN" sz="1600" dirty="0" smtClean="0">
              <a:solidFill>
                <a:srgbClr val="00B050"/>
              </a:solidFill>
              <a:latin typeface="微软雅黑" pitchFamily="34" charset="-122"/>
              <a:ea typeface="微软雅黑" pitchFamily="34" charset="-122"/>
            </a:endParaRPr>
          </a:p>
          <a:p>
            <a:r>
              <a:rPr lang="en-US" altLang="zh-CN" sz="1600" dirty="0"/>
              <a:t>plot(</a:t>
            </a:r>
            <a:r>
              <a:rPr lang="en-US" altLang="zh-CN" sz="1600" dirty="0" err="1"/>
              <a:t>pl</a:t>
            </a:r>
            <a:r>
              <a:rPr lang="en-US" altLang="zh-CN" sz="1600" dirty="0"/>
              <a:t>)</a:t>
            </a:r>
            <a:endParaRPr lang="zh-CN" altLang="en-US" sz="1600" dirty="0"/>
          </a:p>
        </p:txBody>
      </p:sp>
      <p:sp>
        <p:nvSpPr>
          <p:cNvPr id="7" name="标题 1"/>
          <p:cNvSpPr txBox="1">
            <a:spLocks/>
          </p:cNvSpPr>
          <p:nvPr/>
        </p:nvSpPr>
        <p:spPr>
          <a:xfrm>
            <a:off x="755576" y="11723"/>
            <a:ext cx="7272808" cy="562074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CN" altLang="en-US" sz="3200" dirty="0" smtClean="0">
                <a:latin typeface="微软雅黑" pitchFamily="34" charset="-122"/>
                <a:ea typeface="微软雅黑" pitchFamily="34" charset="-122"/>
              </a:rPr>
              <a:t>交易结果分析：打通终端</a:t>
            </a:r>
            <a:r>
              <a:rPr lang="en-US" altLang="zh-CN" sz="3200" dirty="0" smtClean="0">
                <a:latin typeface="微软雅黑" pitchFamily="34" charset="-122"/>
                <a:ea typeface="微软雅黑" pitchFamily="34" charset="-122"/>
              </a:rPr>
              <a:t>-&gt;AMS/PMS</a:t>
            </a:r>
            <a:endParaRPr lang="zh-CN" altLang="en-US" sz="3200" dirty="0"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687429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图示 4"/>
          <p:cNvGraphicFramePr/>
          <p:nvPr>
            <p:extLst>
              <p:ext uri="{D42A27DB-BD31-4B8C-83A1-F6EECF244321}">
                <p14:modId xmlns="" xmlns:p14="http://schemas.microsoft.com/office/powerpoint/2010/main" val="933013719"/>
              </p:ext>
            </p:extLst>
          </p:nvPr>
        </p:nvGraphicFramePr>
        <p:xfrm>
          <a:off x="1285852" y="1071546"/>
          <a:ext cx="6834214" cy="48180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标题 1"/>
          <p:cNvSpPr txBox="1">
            <a:spLocks/>
          </p:cNvSpPr>
          <p:nvPr/>
        </p:nvSpPr>
        <p:spPr>
          <a:xfrm>
            <a:off x="755576" y="11723"/>
            <a:ext cx="4104456" cy="562074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zh-CN" sz="3200" dirty="0" smtClean="0">
                <a:latin typeface="微软雅黑" pitchFamily="34" charset="-122"/>
                <a:ea typeface="微软雅黑" pitchFamily="34" charset="-122"/>
              </a:rPr>
              <a:t>Wind</a:t>
            </a:r>
            <a:r>
              <a:rPr lang="zh-CN" altLang="en-US" sz="3200" dirty="0" smtClean="0">
                <a:latin typeface="微软雅黑" pitchFamily="34" charset="-122"/>
                <a:ea typeface="微软雅黑" pitchFamily="34" charset="-122"/>
              </a:rPr>
              <a:t>量化平台</a:t>
            </a:r>
          </a:p>
        </p:txBody>
      </p:sp>
    </p:spTree>
    <p:extLst>
      <p:ext uri="{BB962C8B-B14F-4D97-AF65-F5344CB8AC3E}">
        <p14:creationId xmlns="" xmlns:p14="http://schemas.microsoft.com/office/powerpoint/2010/main" val="35813592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图片 1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5544" y="2328127"/>
            <a:ext cx="2992140" cy="2057096"/>
          </a:xfrm>
          <a:prstGeom prst="rect">
            <a:avLst/>
          </a:prstGeom>
        </p:spPr>
      </p:pic>
      <p:sp>
        <p:nvSpPr>
          <p:cNvPr id="8" name="标题 1"/>
          <p:cNvSpPr txBox="1">
            <a:spLocks/>
          </p:cNvSpPr>
          <p:nvPr/>
        </p:nvSpPr>
        <p:spPr>
          <a:xfrm>
            <a:off x="755575" y="11723"/>
            <a:ext cx="9001001" cy="562074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CN" altLang="en-US" sz="3200" dirty="0" smtClean="0">
                <a:latin typeface="微软雅黑" pitchFamily="34" charset="-122"/>
                <a:ea typeface="微软雅黑" pitchFamily="34" charset="-122"/>
              </a:rPr>
              <a:t>进阶应用</a:t>
            </a:r>
            <a:r>
              <a:rPr lang="en-US" altLang="zh-CN" sz="3200" dirty="0" smtClean="0">
                <a:latin typeface="微软雅黑" pitchFamily="34" charset="-122"/>
                <a:ea typeface="微软雅黑" pitchFamily="34" charset="-122"/>
              </a:rPr>
              <a:t>1: R-Breaker </a:t>
            </a:r>
            <a:r>
              <a:rPr lang="zh-CN" altLang="en-US" sz="3200" dirty="0" smtClean="0">
                <a:latin typeface="微软雅黑" pitchFamily="34" charset="-122"/>
                <a:ea typeface="微软雅黑" pitchFamily="34" charset="-122"/>
              </a:rPr>
              <a:t>日内</a:t>
            </a:r>
            <a:r>
              <a:rPr lang="en-US" altLang="zh-CN" sz="3200" dirty="0" smtClean="0">
                <a:latin typeface="微软雅黑" pitchFamily="34" charset="-122"/>
                <a:ea typeface="微软雅黑" pitchFamily="34" charset="-122"/>
              </a:rPr>
              <a:t>(</a:t>
            </a:r>
            <a:r>
              <a:rPr lang="zh-CN" altLang="en-US" sz="3200" dirty="0" smtClean="0">
                <a:latin typeface="微软雅黑" pitchFamily="34" charset="-122"/>
                <a:ea typeface="微软雅黑" pitchFamily="34" charset="-122"/>
              </a:rPr>
              <a:t>非高频</a:t>
            </a:r>
            <a:r>
              <a:rPr lang="en-US" altLang="zh-CN" sz="3200" dirty="0" smtClean="0">
                <a:latin typeface="微软雅黑" pitchFamily="34" charset="-122"/>
                <a:ea typeface="微软雅黑" pitchFamily="34" charset="-122"/>
              </a:rPr>
              <a:t>)</a:t>
            </a:r>
            <a:r>
              <a:rPr lang="zh-CN" altLang="en-US" sz="3200" dirty="0" smtClean="0">
                <a:latin typeface="微软雅黑" pitchFamily="34" charset="-122"/>
                <a:ea typeface="微软雅黑" pitchFamily="34" charset="-122"/>
              </a:rPr>
              <a:t>交易</a:t>
            </a:r>
            <a:r>
              <a:rPr lang="zh-CN" altLang="en-US" sz="3200" dirty="0">
                <a:latin typeface="微软雅黑" pitchFamily="34" charset="-122"/>
                <a:ea typeface="微软雅黑" pitchFamily="34" charset="-122"/>
              </a:rPr>
              <a:t>策略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42910" y="571480"/>
            <a:ext cx="74295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资料来源：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http://www.yafco.com/show.php?contentid=261740</a:t>
            </a:r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3" name="组合 2"/>
          <p:cNvGrpSpPr/>
          <p:nvPr/>
        </p:nvGrpSpPr>
        <p:grpSpPr>
          <a:xfrm>
            <a:off x="1115616" y="1275545"/>
            <a:ext cx="4925683" cy="2485864"/>
            <a:chOff x="959354" y="2924944"/>
            <a:chExt cx="5510311" cy="2625523"/>
          </a:xfrm>
        </p:grpSpPr>
        <p:pic>
          <p:nvPicPr>
            <p:cNvPr id="29698" name="Picture 2" descr="C:\Users\zxf\Desktop\20121106093546380.jp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9354" y="2924944"/>
              <a:ext cx="4473112" cy="2625523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" name="组合 1"/>
            <p:cNvGrpSpPr/>
            <p:nvPr/>
          </p:nvGrpSpPr>
          <p:grpSpPr>
            <a:xfrm>
              <a:off x="5209525" y="3064944"/>
              <a:ext cx="1260140" cy="1907620"/>
              <a:chOff x="5209525" y="3064944"/>
              <a:chExt cx="1260140" cy="1907620"/>
            </a:xfrm>
          </p:grpSpPr>
          <p:sp>
            <p:nvSpPr>
              <p:cNvPr id="11" name="TextBox 10"/>
              <p:cNvSpPr txBox="1"/>
              <p:nvPr/>
            </p:nvSpPr>
            <p:spPr>
              <a:xfrm>
                <a:off x="5209525" y="3064944"/>
                <a:ext cx="1260140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zh-CN" sz="1000" b="1" dirty="0" smtClean="0">
                    <a:solidFill>
                      <a:srgbClr val="FF0000"/>
                    </a:solidFill>
                    <a:latin typeface="微软雅黑" pitchFamily="34" charset="-122"/>
                    <a:ea typeface="微软雅黑" pitchFamily="34" charset="-122"/>
                  </a:rPr>
                  <a:t>突破买入价</a:t>
                </a:r>
                <a:endParaRPr lang="zh-CN" altLang="en-US" sz="1000" dirty="0"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12" name="TextBox 11"/>
              <p:cNvSpPr txBox="1"/>
              <p:nvPr/>
            </p:nvSpPr>
            <p:spPr>
              <a:xfrm>
                <a:off x="5209525" y="3326376"/>
                <a:ext cx="964413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zh-CN" sz="1000" b="1" dirty="0" smtClean="0">
                    <a:solidFill>
                      <a:srgbClr val="FF0000"/>
                    </a:solidFill>
                    <a:latin typeface="微软雅黑" pitchFamily="34" charset="-122"/>
                    <a:ea typeface="微软雅黑" pitchFamily="34" charset="-122"/>
                  </a:rPr>
                  <a:t>观察卖出价</a:t>
                </a:r>
                <a:endParaRPr lang="zh-CN" altLang="en-US" sz="1000" dirty="0"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13" name="TextBox 12"/>
              <p:cNvSpPr txBox="1"/>
              <p:nvPr/>
            </p:nvSpPr>
            <p:spPr>
              <a:xfrm>
                <a:off x="5218301" y="3613654"/>
                <a:ext cx="964413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zh-CN" sz="1000" b="1" dirty="0" smtClean="0">
                    <a:solidFill>
                      <a:srgbClr val="FF0000"/>
                    </a:solidFill>
                    <a:latin typeface="微软雅黑" pitchFamily="34" charset="-122"/>
                    <a:ea typeface="微软雅黑" pitchFamily="34" charset="-122"/>
                  </a:rPr>
                  <a:t>反转卖出价</a:t>
                </a:r>
                <a:endParaRPr lang="zh-CN" altLang="en-US" sz="1000" dirty="0"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14" name="TextBox 13"/>
              <p:cNvSpPr txBox="1"/>
              <p:nvPr/>
            </p:nvSpPr>
            <p:spPr>
              <a:xfrm>
                <a:off x="5230465" y="4726343"/>
                <a:ext cx="1165238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zh-CN" sz="1000" b="1" dirty="0" smtClean="0">
                    <a:solidFill>
                      <a:srgbClr val="FF0000"/>
                    </a:solidFill>
                    <a:latin typeface="微软雅黑" pitchFamily="34" charset="-122"/>
                    <a:ea typeface="微软雅黑" pitchFamily="34" charset="-122"/>
                  </a:rPr>
                  <a:t>突破卖出价</a:t>
                </a:r>
                <a:endParaRPr lang="zh-CN" altLang="en-US" sz="1000" dirty="0"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15" name="TextBox 14"/>
              <p:cNvSpPr txBox="1"/>
              <p:nvPr/>
            </p:nvSpPr>
            <p:spPr>
              <a:xfrm>
                <a:off x="5230464" y="4459247"/>
                <a:ext cx="1093230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zh-CN" sz="1000" b="1" dirty="0" smtClean="0">
                    <a:solidFill>
                      <a:srgbClr val="FF0000"/>
                    </a:solidFill>
                    <a:latin typeface="微软雅黑" pitchFamily="34" charset="-122"/>
                    <a:ea typeface="微软雅黑" pitchFamily="34" charset="-122"/>
                  </a:rPr>
                  <a:t>观察买入价</a:t>
                </a:r>
                <a:endParaRPr lang="zh-CN" altLang="en-US" sz="1000" dirty="0"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16" name="TextBox 15"/>
              <p:cNvSpPr txBox="1"/>
              <p:nvPr/>
            </p:nvSpPr>
            <p:spPr>
              <a:xfrm>
                <a:off x="5209525" y="4197815"/>
                <a:ext cx="1105770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zh-CN" sz="1000" b="1" dirty="0" smtClean="0">
                    <a:solidFill>
                      <a:srgbClr val="FF0000"/>
                    </a:solidFill>
                    <a:latin typeface="微软雅黑" pitchFamily="34" charset="-122"/>
                    <a:ea typeface="微软雅黑" pitchFamily="34" charset="-122"/>
                  </a:rPr>
                  <a:t>反转买入价</a:t>
                </a:r>
                <a:endParaRPr lang="zh-CN" altLang="en-US" sz="1000" dirty="0">
                  <a:latin typeface="微软雅黑" pitchFamily="34" charset="-122"/>
                  <a:ea typeface="微软雅黑" pitchFamily="34" charset="-122"/>
                </a:endParaRPr>
              </a:p>
            </p:txBody>
          </p:sp>
        </p:grpSp>
      </p:grpSp>
      <p:sp>
        <p:nvSpPr>
          <p:cNvPr id="5" name="TextBox 4"/>
          <p:cNvSpPr txBox="1"/>
          <p:nvPr/>
        </p:nvSpPr>
        <p:spPr>
          <a:xfrm>
            <a:off x="899592" y="4010580"/>
            <a:ext cx="3617598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六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个价格：</a:t>
            </a: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  <a:p>
            <a:r>
              <a:rPr lang="en-US" altLang="zh-CN" sz="1400" dirty="0" err="1" smtClean="0">
                <a:latin typeface="微软雅黑" pitchFamily="34" charset="-122"/>
                <a:ea typeface="微软雅黑" pitchFamily="34" charset="-122"/>
              </a:rPr>
              <a:t>Ssetup</a:t>
            </a:r>
            <a:r>
              <a:rPr lang="en-US" altLang="zh-CN" sz="1400" dirty="0" smtClean="0"/>
              <a:t>=</a:t>
            </a: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昨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高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+0.35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*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(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昨收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-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昨低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);</a:t>
            </a:r>
          </a:p>
          <a:p>
            <a:r>
              <a:rPr lang="en-US" altLang="zh-CN" sz="1400" dirty="0" err="1" smtClean="0">
                <a:latin typeface="微软雅黑" pitchFamily="34" charset="-122"/>
                <a:ea typeface="微软雅黑" pitchFamily="34" charset="-122"/>
              </a:rPr>
              <a:t>Senter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=(1.07/2)*(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昨高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+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昨低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)-0.07*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昨低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;</a:t>
            </a:r>
          </a:p>
          <a:p>
            <a:r>
              <a:rPr lang="en-US" altLang="zh-CN" sz="1400" dirty="0" err="1" smtClean="0">
                <a:latin typeface="微软雅黑" pitchFamily="34" charset="-122"/>
                <a:ea typeface="微软雅黑" pitchFamily="34" charset="-122"/>
              </a:rPr>
              <a:t>Benter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=</a:t>
            </a:r>
            <a:r>
              <a:rPr lang="en-US" altLang="zh-CN" sz="1400" dirty="0">
                <a:latin typeface="微软雅黑" pitchFamily="34" charset="-122"/>
                <a:ea typeface="微软雅黑" pitchFamily="34" charset="-122"/>
              </a:rPr>
              <a:t>(1.07/2)*(</a:t>
            </a: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昨高</a:t>
            </a:r>
            <a:r>
              <a:rPr lang="en-US" altLang="zh-CN" sz="1400" dirty="0">
                <a:latin typeface="微软雅黑" pitchFamily="34" charset="-122"/>
                <a:ea typeface="微软雅黑" pitchFamily="34" charset="-122"/>
              </a:rPr>
              <a:t>+</a:t>
            </a: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昨低</a:t>
            </a:r>
            <a:r>
              <a:rPr lang="en-US" altLang="zh-CN" sz="1400" dirty="0">
                <a:latin typeface="微软雅黑" pitchFamily="34" charset="-122"/>
                <a:ea typeface="微软雅黑" pitchFamily="34" charset="-122"/>
              </a:rPr>
              <a:t>)-0.07*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昨高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;</a:t>
            </a:r>
          </a:p>
          <a:p>
            <a:r>
              <a:rPr lang="en-US" altLang="zh-CN" sz="1400" dirty="0" err="1" smtClean="0">
                <a:latin typeface="微软雅黑" pitchFamily="34" charset="-122"/>
                <a:ea typeface="微软雅黑" pitchFamily="34" charset="-122"/>
              </a:rPr>
              <a:t>Bsetup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=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昨低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-0.35*(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昨高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-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昨收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);</a:t>
            </a:r>
            <a:endParaRPr lang="en-US" altLang="zh-CN" sz="1400" dirty="0" smtClean="0"/>
          </a:p>
          <a:p>
            <a:r>
              <a:rPr lang="en-US" altLang="zh-CN" sz="1400" dirty="0" err="1" smtClean="0"/>
              <a:t>Bbreak</a:t>
            </a:r>
            <a:r>
              <a:rPr lang="en-US" altLang="zh-CN" sz="1400" dirty="0" smtClean="0"/>
              <a:t>=</a:t>
            </a:r>
            <a:r>
              <a:rPr lang="en-US" altLang="zh-CN" sz="1400" dirty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Ssetup</a:t>
            </a:r>
            <a:r>
              <a:rPr lang="en-US" altLang="zh-CN" sz="1400" dirty="0" smtClean="0"/>
              <a:t>+0.25*(</a:t>
            </a:r>
            <a:r>
              <a:rPr lang="en-US" altLang="zh-CN" sz="1400" dirty="0" err="1" smtClean="0"/>
              <a:t>Senter-Bsetup</a:t>
            </a:r>
            <a:r>
              <a:rPr lang="en-US" altLang="zh-CN" sz="1400" dirty="0" smtClean="0"/>
              <a:t>);</a:t>
            </a:r>
          </a:p>
          <a:p>
            <a:r>
              <a:rPr lang="en-US" altLang="zh-CN" sz="1400" dirty="0" err="1" smtClean="0"/>
              <a:t>Sbreak</a:t>
            </a:r>
            <a:r>
              <a:rPr lang="en-US" altLang="zh-CN" sz="1400" dirty="0" smtClean="0"/>
              <a:t>=Bsetup-0.25*(</a:t>
            </a:r>
            <a:r>
              <a:rPr lang="en-US" altLang="zh-CN" sz="1400" dirty="0" err="1"/>
              <a:t>Senter-Bsetup</a:t>
            </a:r>
            <a:r>
              <a:rPr lang="en-US" altLang="zh-CN" sz="1400" dirty="0" smtClean="0"/>
              <a:t>);</a:t>
            </a:r>
            <a:endParaRPr lang="zh-CN" altLang="en-US" sz="1400" dirty="0"/>
          </a:p>
        </p:txBody>
      </p:sp>
      <p:grpSp>
        <p:nvGrpSpPr>
          <p:cNvPr id="21" name="组合 20"/>
          <p:cNvGrpSpPr/>
          <p:nvPr/>
        </p:nvGrpSpPr>
        <p:grpSpPr>
          <a:xfrm>
            <a:off x="7596336" y="5589240"/>
            <a:ext cx="1658149" cy="908382"/>
            <a:chOff x="7380312" y="4941168"/>
            <a:chExt cx="1600200" cy="947504"/>
          </a:xfrm>
        </p:grpSpPr>
        <p:sp>
          <p:nvSpPr>
            <p:cNvPr id="9" name="TextBox 8"/>
            <p:cNvSpPr txBox="1"/>
            <p:nvPr/>
          </p:nvSpPr>
          <p:spPr>
            <a:xfrm>
              <a:off x="7641579" y="5550118"/>
              <a:ext cx="113806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600" dirty="0" smtClean="0">
                  <a:solidFill>
                    <a:srgbClr val="FF0000"/>
                  </a:solidFill>
                </a:rPr>
                <a:t>双击查看</a:t>
              </a:r>
              <a:endParaRPr lang="zh-CN" altLang="en-US" sz="1600" dirty="0">
                <a:solidFill>
                  <a:srgbClr val="FF0000"/>
                </a:solidFill>
              </a:endParaRPr>
            </a:p>
          </p:txBody>
        </p:sp>
        <p:graphicFrame>
          <p:nvGraphicFramePr>
            <p:cNvPr id="19" name="对象 18">
              <a:hlinkClick r:id="" action="ppaction://ole?verb=0"/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="" xmlns:p14="http://schemas.microsoft.com/office/powerpoint/2010/main" val="4031550775"/>
                </p:ext>
              </p:extLst>
            </p:nvPr>
          </p:nvGraphicFramePr>
          <p:xfrm>
            <a:off x="7380312" y="4941168"/>
            <a:ext cx="1600200" cy="715164"/>
          </p:xfrm>
          <a:graphic>
            <a:graphicData uri="http://schemas.openxmlformats.org/presentationml/2006/ole">
              <p:oleObj spid="_x0000_s47288" name="包装程序外壳对象" showAsIcon="1" r:id="rId5" imgW="1599480" imgH="711360" progId="Package">
                <p:embed/>
              </p:oleObj>
            </a:graphicData>
          </a:graphic>
        </p:graphicFrame>
      </p:grpSp>
      <p:sp>
        <p:nvSpPr>
          <p:cNvPr id="4" name="TextBox 3"/>
          <p:cNvSpPr txBox="1"/>
          <p:nvPr/>
        </p:nvSpPr>
        <p:spPr>
          <a:xfrm>
            <a:off x="870325" y="4019312"/>
            <a:ext cx="7401513" cy="18158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空</a:t>
            </a: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仓做多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条件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:</a:t>
            </a:r>
          </a:p>
          <a:p>
            <a:r>
              <a:rPr lang="en-US" altLang="zh-CN" sz="1400" dirty="0" err="1" smtClean="0">
                <a:latin typeface="微软雅黑" pitchFamily="34" charset="-122"/>
                <a:ea typeface="微软雅黑" pitchFamily="34" charset="-122"/>
              </a:rPr>
              <a:t>bool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1400" dirty="0">
                <a:latin typeface="微软雅黑" pitchFamily="34" charset="-122"/>
                <a:ea typeface="微软雅黑" pitchFamily="34" charset="-122"/>
              </a:rPr>
              <a:t>bCon1 = (</a:t>
            </a:r>
            <a:r>
              <a:rPr lang="en-US" altLang="zh-CN" sz="1400" dirty="0" err="1">
                <a:latin typeface="微软雅黑" pitchFamily="34" charset="-122"/>
                <a:ea typeface="微软雅黑" pitchFamily="34" charset="-122"/>
              </a:rPr>
              <a:t>dCurPrice</a:t>
            </a:r>
            <a:r>
              <a:rPr lang="en-US" altLang="zh-CN" sz="1400" dirty="0">
                <a:latin typeface="微软雅黑" pitchFamily="34" charset="-122"/>
                <a:ea typeface="微软雅黑" pitchFamily="34" charset="-122"/>
              </a:rPr>
              <a:t> &gt; </a:t>
            </a:r>
            <a:r>
              <a:rPr lang="en-US" altLang="zh-CN" sz="1400" dirty="0" err="1">
                <a:latin typeface="微软雅黑" pitchFamily="34" charset="-122"/>
                <a:ea typeface="微软雅黑" pitchFamily="34" charset="-122"/>
              </a:rPr>
              <a:t>dBbreak</a:t>
            </a:r>
            <a:r>
              <a:rPr lang="en-US" altLang="zh-CN" sz="1400" dirty="0">
                <a:latin typeface="微软雅黑" pitchFamily="34" charset="-122"/>
                <a:ea typeface="微软雅黑" pitchFamily="34" charset="-122"/>
              </a:rPr>
              <a:t>) &amp;&amp; (0 == </a:t>
            </a:r>
            <a:r>
              <a:rPr lang="en-US" altLang="zh-CN" sz="1400" dirty="0" err="1">
                <a:latin typeface="微软雅黑" pitchFamily="34" charset="-122"/>
                <a:ea typeface="微软雅黑" pitchFamily="34" charset="-122"/>
              </a:rPr>
              <a:t>nCurHold</a:t>
            </a:r>
            <a:r>
              <a:rPr lang="en-US" altLang="zh-CN" sz="1400" dirty="0">
                <a:latin typeface="微软雅黑" pitchFamily="34" charset="-122"/>
                <a:ea typeface="微软雅黑" pitchFamily="34" charset="-122"/>
              </a:rPr>
              <a:t>); </a:t>
            </a: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  <a:p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空</a:t>
            </a: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仓做空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条件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:</a:t>
            </a:r>
            <a:endParaRPr lang="zh-CN" altLang="en-US" sz="1400" dirty="0">
              <a:latin typeface="微软雅黑" pitchFamily="34" charset="-122"/>
              <a:ea typeface="微软雅黑" pitchFamily="34" charset="-122"/>
            </a:endParaRPr>
          </a:p>
          <a:p>
            <a:r>
              <a:rPr lang="en-US" altLang="zh-CN" sz="1400" dirty="0" err="1" smtClean="0">
                <a:latin typeface="微软雅黑" pitchFamily="34" charset="-122"/>
                <a:ea typeface="微软雅黑" pitchFamily="34" charset="-122"/>
              </a:rPr>
              <a:t>bool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1400" dirty="0">
                <a:latin typeface="微软雅黑" pitchFamily="34" charset="-122"/>
                <a:ea typeface="微软雅黑" pitchFamily="34" charset="-122"/>
              </a:rPr>
              <a:t>bCon2 = (</a:t>
            </a:r>
            <a:r>
              <a:rPr lang="en-US" altLang="zh-CN" sz="1400" dirty="0" err="1">
                <a:latin typeface="微软雅黑" pitchFamily="34" charset="-122"/>
                <a:ea typeface="微软雅黑" pitchFamily="34" charset="-122"/>
              </a:rPr>
              <a:t>dCurPrice</a:t>
            </a:r>
            <a:r>
              <a:rPr lang="en-US" altLang="zh-CN" sz="1400" dirty="0">
                <a:latin typeface="微软雅黑" pitchFamily="34" charset="-122"/>
                <a:ea typeface="微软雅黑" pitchFamily="34" charset="-122"/>
              </a:rPr>
              <a:t> &lt; </a:t>
            </a:r>
            <a:r>
              <a:rPr lang="en-US" altLang="zh-CN" sz="1400" dirty="0" err="1">
                <a:latin typeface="微软雅黑" pitchFamily="34" charset="-122"/>
                <a:ea typeface="微软雅黑" pitchFamily="34" charset="-122"/>
              </a:rPr>
              <a:t>dSbreak</a:t>
            </a:r>
            <a:r>
              <a:rPr lang="en-US" altLang="zh-CN" sz="1400" dirty="0">
                <a:latin typeface="微软雅黑" pitchFamily="34" charset="-122"/>
                <a:ea typeface="微软雅黑" pitchFamily="34" charset="-122"/>
              </a:rPr>
              <a:t>) &amp;&amp; (0 == </a:t>
            </a:r>
            <a:r>
              <a:rPr lang="en-US" altLang="zh-CN" sz="1400" dirty="0" err="1">
                <a:latin typeface="微软雅黑" pitchFamily="34" charset="-122"/>
                <a:ea typeface="微软雅黑" pitchFamily="34" charset="-122"/>
              </a:rPr>
              <a:t>nCurHold</a:t>
            </a:r>
            <a:r>
              <a:rPr lang="en-US" altLang="zh-CN" sz="1400" dirty="0">
                <a:latin typeface="微软雅黑" pitchFamily="34" charset="-122"/>
                <a:ea typeface="微软雅黑" pitchFamily="34" charset="-122"/>
              </a:rPr>
              <a:t>); </a:t>
            </a: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  <a:p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多</a:t>
            </a: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单反转卖出条件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:</a:t>
            </a:r>
          </a:p>
          <a:p>
            <a:r>
              <a:rPr lang="en-US" altLang="zh-CN" sz="1400" dirty="0" err="1" smtClean="0">
                <a:latin typeface="微软雅黑" pitchFamily="34" charset="-122"/>
                <a:ea typeface="微软雅黑" pitchFamily="34" charset="-122"/>
              </a:rPr>
              <a:t>bool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 bCon3 = (</a:t>
            </a:r>
            <a:r>
              <a:rPr lang="en-US" altLang="zh-CN" sz="1400" dirty="0" err="1" smtClean="0">
                <a:latin typeface="微软雅黑" pitchFamily="34" charset="-122"/>
                <a:ea typeface="微软雅黑" pitchFamily="34" charset="-122"/>
              </a:rPr>
              <a:t>nCurHold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 &gt; 0) &amp;&amp; (</a:t>
            </a:r>
            <a:r>
              <a:rPr lang="en-US" altLang="zh-CN" sz="1400" dirty="0" err="1" smtClean="0">
                <a:latin typeface="微软雅黑" pitchFamily="34" charset="-122"/>
                <a:ea typeface="微软雅黑" pitchFamily="34" charset="-122"/>
              </a:rPr>
              <a:t>dCurHigh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 &gt; </a:t>
            </a:r>
            <a:r>
              <a:rPr lang="en-US" altLang="zh-CN" sz="1400" dirty="0" err="1" smtClean="0">
                <a:latin typeface="微软雅黑" pitchFamily="34" charset="-122"/>
                <a:ea typeface="微软雅黑" pitchFamily="34" charset="-122"/>
              </a:rPr>
              <a:t>dSsetup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) &amp;&amp; (</a:t>
            </a:r>
            <a:r>
              <a:rPr lang="en-US" altLang="zh-CN" sz="1400" dirty="0" err="1" smtClean="0">
                <a:latin typeface="微软雅黑" pitchFamily="34" charset="-122"/>
                <a:ea typeface="微软雅黑" pitchFamily="34" charset="-122"/>
              </a:rPr>
              <a:t>dCurPrice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 &lt; </a:t>
            </a:r>
            <a:r>
              <a:rPr lang="en-US" altLang="zh-CN" sz="1400" dirty="0" err="1" smtClean="0">
                <a:latin typeface="微软雅黑" pitchFamily="34" charset="-122"/>
                <a:ea typeface="微软雅黑" pitchFamily="34" charset="-122"/>
              </a:rPr>
              <a:t>dSenter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); </a:t>
            </a:r>
          </a:p>
          <a:p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空</a:t>
            </a: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单反转买入条件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:</a:t>
            </a:r>
            <a:endParaRPr lang="zh-CN" altLang="en-US" sz="1400" dirty="0">
              <a:latin typeface="微软雅黑" pitchFamily="34" charset="-122"/>
              <a:ea typeface="微软雅黑" pitchFamily="34" charset="-122"/>
            </a:endParaRPr>
          </a:p>
          <a:p>
            <a:r>
              <a:rPr lang="en-US" altLang="zh-CN" sz="1400" dirty="0" err="1" smtClean="0">
                <a:latin typeface="微软雅黑" pitchFamily="34" charset="-122"/>
                <a:ea typeface="微软雅黑" pitchFamily="34" charset="-122"/>
              </a:rPr>
              <a:t>bool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1400" dirty="0">
                <a:latin typeface="微软雅黑" pitchFamily="34" charset="-122"/>
                <a:ea typeface="微软雅黑" pitchFamily="34" charset="-122"/>
              </a:rPr>
              <a:t>bCon4 = (</a:t>
            </a:r>
            <a:r>
              <a:rPr lang="en-US" altLang="zh-CN" sz="1400" dirty="0" err="1">
                <a:latin typeface="微软雅黑" pitchFamily="34" charset="-122"/>
                <a:ea typeface="微软雅黑" pitchFamily="34" charset="-122"/>
              </a:rPr>
              <a:t>nCurHold</a:t>
            </a:r>
            <a:r>
              <a:rPr lang="en-US" altLang="zh-CN" sz="1400" dirty="0">
                <a:latin typeface="微软雅黑" pitchFamily="34" charset="-122"/>
                <a:ea typeface="微软雅黑" pitchFamily="34" charset="-122"/>
              </a:rPr>
              <a:t> &lt; 0) &amp;&amp; (</a:t>
            </a:r>
            <a:r>
              <a:rPr lang="en-US" altLang="zh-CN" sz="1400" dirty="0" err="1">
                <a:latin typeface="微软雅黑" pitchFamily="34" charset="-122"/>
                <a:ea typeface="微软雅黑" pitchFamily="34" charset="-122"/>
              </a:rPr>
              <a:t>dCurLow</a:t>
            </a:r>
            <a:r>
              <a:rPr lang="en-US" altLang="zh-CN" sz="1400" dirty="0">
                <a:latin typeface="微软雅黑" pitchFamily="34" charset="-122"/>
                <a:ea typeface="微软雅黑" pitchFamily="34" charset="-122"/>
              </a:rPr>
              <a:t> &lt; </a:t>
            </a:r>
            <a:r>
              <a:rPr lang="en-US" altLang="zh-CN" sz="1400" dirty="0" err="1">
                <a:latin typeface="微软雅黑" pitchFamily="34" charset="-122"/>
                <a:ea typeface="微软雅黑" pitchFamily="34" charset="-122"/>
              </a:rPr>
              <a:t>dBsetup</a:t>
            </a:r>
            <a:r>
              <a:rPr lang="en-US" altLang="zh-CN" sz="1400" dirty="0">
                <a:latin typeface="微软雅黑" pitchFamily="34" charset="-122"/>
                <a:ea typeface="微软雅黑" pitchFamily="34" charset="-122"/>
              </a:rPr>
              <a:t>) &amp;&amp; (</a:t>
            </a:r>
            <a:r>
              <a:rPr lang="en-US" altLang="zh-CN" sz="1400" dirty="0" err="1">
                <a:latin typeface="微软雅黑" pitchFamily="34" charset="-122"/>
                <a:ea typeface="微软雅黑" pitchFamily="34" charset="-122"/>
              </a:rPr>
              <a:t>dCurPrice</a:t>
            </a:r>
            <a:r>
              <a:rPr lang="en-US" altLang="zh-CN" sz="1400" dirty="0">
                <a:latin typeface="微软雅黑" pitchFamily="34" charset="-122"/>
                <a:ea typeface="微软雅黑" pitchFamily="34" charset="-122"/>
              </a:rPr>
              <a:t> &gt; </a:t>
            </a:r>
            <a:r>
              <a:rPr lang="en-US" altLang="zh-CN" sz="1400" dirty="0" err="1">
                <a:latin typeface="微软雅黑" pitchFamily="34" charset="-122"/>
                <a:ea typeface="微软雅黑" pitchFamily="34" charset="-122"/>
              </a:rPr>
              <a:t>dBenter</a:t>
            </a:r>
            <a:r>
              <a:rPr lang="en-US" altLang="zh-CN" sz="1400" dirty="0">
                <a:latin typeface="微软雅黑" pitchFamily="34" charset="-122"/>
                <a:ea typeface="微软雅黑" pitchFamily="34" charset="-122"/>
              </a:rPr>
              <a:t>); </a:t>
            </a:r>
            <a:endParaRPr lang="zh-CN" altLang="en-US" sz="1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920769" y="1404797"/>
            <a:ext cx="2492990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昨日高、低、收价格？</a:t>
            </a:r>
            <a:endParaRPr lang="en-US" altLang="zh-CN" dirty="0" smtClean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  <a:p>
            <a:endParaRPr lang="en-US" altLang="zh-CN" dirty="0" smtClean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  <a:p>
            <a:r>
              <a:rPr lang="zh-CN" altLang="en-US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今日的交易</a:t>
            </a:r>
            <a:r>
              <a:rPr lang="zh-CN" altLang="en-US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数据？</a:t>
            </a:r>
            <a:endParaRPr lang="zh-CN" altLang="en-US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8974774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2" presetClass="exit" presetSubtype="4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5" grpId="1"/>
      <p:bldP spid="4" grpId="0"/>
      <p:bldP spid="6" grpId="0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 txBox="1">
            <a:spLocks/>
          </p:cNvSpPr>
          <p:nvPr/>
        </p:nvSpPr>
        <p:spPr>
          <a:xfrm>
            <a:off x="755576" y="11723"/>
            <a:ext cx="7959828" cy="562074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CN" altLang="en-US" sz="3200" dirty="0" smtClean="0">
                <a:latin typeface="微软雅黑" pitchFamily="34" charset="-122"/>
                <a:ea typeface="微软雅黑" pitchFamily="34" charset="-122"/>
              </a:rPr>
              <a:t>进阶应用</a:t>
            </a:r>
            <a:r>
              <a:rPr lang="en-US" altLang="zh-CN" sz="3200" dirty="0" smtClean="0">
                <a:latin typeface="微软雅黑" pitchFamily="34" charset="-122"/>
                <a:ea typeface="微软雅黑" pitchFamily="34" charset="-122"/>
              </a:rPr>
              <a:t>2</a:t>
            </a:r>
            <a:r>
              <a:rPr lang="zh-CN" altLang="en-US" sz="3200" dirty="0" smtClean="0">
                <a:latin typeface="微软雅黑" pitchFamily="34" charset="-122"/>
                <a:ea typeface="微软雅黑" pitchFamily="34" charset="-122"/>
              </a:rPr>
              <a:t>：接口使用例子</a:t>
            </a:r>
            <a:endParaRPr lang="zh-CN" altLang="en-US" sz="3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28596" y="642918"/>
            <a:ext cx="91525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WAPIWrapperCSharp\</a:t>
            </a:r>
            <a:r>
              <a:rPr lang="en-US" altLang="zh-CN" dirty="0" err="1">
                <a:latin typeface="微软雅黑" pitchFamily="34" charset="-122"/>
                <a:ea typeface="微软雅黑" pitchFamily="34" charset="-122"/>
              </a:rPr>
              <a:t>dev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\demo\</a:t>
            </a:r>
            <a:r>
              <a:rPr lang="en-US" altLang="zh-CN" dirty="0" err="1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WindQuantCSharpSample</a:t>
            </a:r>
            <a:endParaRPr lang="zh-CN" altLang="en-US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4813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640" y="1012250"/>
            <a:ext cx="5997934" cy="53918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43442"/>
            <a:ext cx="9144000" cy="277111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481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8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71406" y="764704"/>
            <a:ext cx="91525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终端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-&gt;QNT-&gt;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策略模型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-&gt;</a:t>
            </a:r>
            <a:r>
              <a:rPr lang="zh-CN" altLang="en-US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判断股票突破以及自动买入卖出策略</a:t>
            </a:r>
            <a:endParaRPr lang="zh-CN" altLang="en-US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" name="标题 1"/>
          <p:cNvSpPr txBox="1">
            <a:spLocks/>
          </p:cNvSpPr>
          <p:nvPr/>
        </p:nvSpPr>
        <p:spPr>
          <a:xfrm>
            <a:off x="755576" y="11723"/>
            <a:ext cx="8031266" cy="562074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CN" altLang="en-US" sz="3200" dirty="0" smtClean="0">
                <a:latin typeface="微软雅黑" pitchFamily="34" charset="-122"/>
                <a:ea typeface="微软雅黑" pitchFamily="34" charset="-122"/>
              </a:rPr>
              <a:t>进阶应用</a:t>
            </a:r>
            <a:r>
              <a:rPr lang="en-US" altLang="zh-CN" sz="3200" dirty="0" smtClean="0">
                <a:latin typeface="微软雅黑" pitchFamily="34" charset="-122"/>
                <a:ea typeface="微软雅黑" pitchFamily="34" charset="-122"/>
              </a:rPr>
              <a:t>3</a:t>
            </a:r>
            <a:r>
              <a:rPr lang="zh-CN" altLang="en-US" sz="3200" dirty="0" smtClean="0">
                <a:latin typeface="微软雅黑" pitchFamily="34" charset="-122"/>
                <a:ea typeface="微软雅黑" pitchFamily="34" charset="-122"/>
              </a:rPr>
              <a:t>：</a:t>
            </a:r>
            <a:r>
              <a:rPr lang="en-US" altLang="zh-CN" sz="3200" dirty="0" smtClean="0">
                <a:latin typeface="微软雅黑" pitchFamily="34" charset="-122"/>
                <a:ea typeface="微软雅黑" pitchFamily="34" charset="-122"/>
              </a:rPr>
              <a:t>C</a:t>
            </a:r>
            <a:r>
              <a:rPr lang="en-US" altLang="zh-CN" sz="3200" dirty="0">
                <a:latin typeface="微软雅黑" pitchFamily="34" charset="-122"/>
                <a:ea typeface="微软雅黑" pitchFamily="34" charset="-122"/>
              </a:rPr>
              <a:t>#</a:t>
            </a:r>
            <a:r>
              <a:rPr lang="zh-CN" altLang="en-US" sz="3200" dirty="0" smtClean="0">
                <a:latin typeface="微软雅黑" pitchFamily="34" charset="-122"/>
                <a:ea typeface="微软雅黑" pitchFamily="34" charset="-122"/>
              </a:rPr>
              <a:t>股票策略程序</a:t>
            </a:r>
            <a:endParaRPr lang="zh-CN" altLang="en-US" sz="3200" dirty="0"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4915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077" y="1484784"/>
            <a:ext cx="8201025" cy="3867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图示 4"/>
          <p:cNvGraphicFramePr/>
          <p:nvPr>
            <p:extLst>
              <p:ext uri="{D42A27DB-BD31-4B8C-83A1-F6EECF244321}">
                <p14:modId xmlns="" xmlns:p14="http://schemas.microsoft.com/office/powerpoint/2010/main" val="2461467289"/>
              </p:ext>
            </p:extLst>
          </p:nvPr>
        </p:nvGraphicFramePr>
        <p:xfrm>
          <a:off x="1285852" y="1071546"/>
          <a:ext cx="6834214" cy="48180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标题 1"/>
          <p:cNvSpPr txBox="1">
            <a:spLocks/>
          </p:cNvSpPr>
          <p:nvPr/>
        </p:nvSpPr>
        <p:spPr>
          <a:xfrm>
            <a:off x="755576" y="11723"/>
            <a:ext cx="4104456" cy="562074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zh-CN" sz="3200" dirty="0" smtClean="0">
                <a:latin typeface="微软雅黑" pitchFamily="34" charset="-122"/>
                <a:ea typeface="微软雅黑" pitchFamily="34" charset="-122"/>
              </a:rPr>
              <a:t>Wind</a:t>
            </a:r>
            <a:r>
              <a:rPr lang="zh-CN" altLang="en-US" sz="3200" dirty="0" smtClean="0">
                <a:latin typeface="微软雅黑" pitchFamily="34" charset="-122"/>
                <a:ea typeface="微软雅黑" pitchFamily="34" charset="-122"/>
              </a:rPr>
              <a:t>量化平台</a:t>
            </a:r>
          </a:p>
        </p:txBody>
      </p:sp>
    </p:spTree>
    <p:extLst>
      <p:ext uri="{BB962C8B-B14F-4D97-AF65-F5344CB8AC3E}">
        <p14:creationId xmlns="" xmlns:p14="http://schemas.microsoft.com/office/powerpoint/2010/main" val="34283702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4294967295"/>
          </p:nvPr>
        </p:nvSpPr>
        <p:spPr>
          <a:xfrm>
            <a:off x="374848" y="1600200"/>
            <a:ext cx="8626308" cy="4525963"/>
          </a:xfrm>
          <a:prstGeom prst="rect">
            <a:avLst/>
          </a:prstGeom>
        </p:spPr>
        <p:txBody>
          <a:bodyPr/>
          <a:lstStyle/>
          <a:p>
            <a:pPr>
              <a:buClr>
                <a:srgbClr val="FF0000"/>
              </a:buClr>
              <a:buFont typeface="Wingdings" panose="05000000000000000000" pitchFamily="2" charset="2"/>
              <a:buChar char="n"/>
            </a:pP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终端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-&gt;</a:t>
            </a:r>
            <a:r>
              <a:rPr lang="en-US" altLang="zh-CN" dirty="0" err="1" smtClean="0">
                <a:latin typeface="微软雅黑" pitchFamily="34" charset="-122"/>
                <a:ea typeface="微软雅黑" pitchFamily="34" charset="-122"/>
              </a:rPr>
              <a:t>OpenAPI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-&gt;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帮助文档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-&gt;c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#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帮助文档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buClr>
                <a:srgbClr val="FF0000"/>
              </a:buClr>
              <a:buFont typeface="Wingdings" panose="05000000000000000000" pitchFamily="2" charset="2"/>
              <a:buChar char="n"/>
            </a:pPr>
            <a:r>
              <a:rPr lang="en-US" altLang="zh-CN" dirty="0" err="1" smtClean="0">
                <a:latin typeface="微软雅黑" pitchFamily="34" charset="-122"/>
                <a:ea typeface="微软雅黑" pitchFamily="34" charset="-122"/>
              </a:rPr>
              <a:t>iwind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-&gt;</a:t>
            </a: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中国量化交易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群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(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群号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59289)</a:t>
            </a:r>
          </a:p>
          <a:p>
            <a:pPr>
              <a:buClr>
                <a:srgbClr val="FF0000"/>
              </a:buClr>
              <a:buFont typeface="Wingdings" panose="05000000000000000000" pitchFamily="2" charset="2"/>
              <a:buChar char="n"/>
            </a:pP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大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奖章网站 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www.dajiangzhang.com</a:t>
            </a:r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" name="标题 1"/>
          <p:cNvSpPr txBox="1">
            <a:spLocks/>
          </p:cNvSpPr>
          <p:nvPr/>
        </p:nvSpPr>
        <p:spPr>
          <a:xfrm>
            <a:off x="755576" y="11723"/>
            <a:ext cx="4104456" cy="562074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CN" altLang="en-US" sz="3600" dirty="0">
                <a:latin typeface="微软雅黑" pitchFamily="34" charset="-122"/>
                <a:ea typeface="微软雅黑" pitchFamily="34" charset="-122"/>
              </a:rPr>
              <a:t>如何获取帮助</a:t>
            </a:r>
          </a:p>
        </p:txBody>
      </p:sp>
    </p:spTree>
    <p:extLst>
      <p:ext uri="{BB962C8B-B14F-4D97-AF65-F5344CB8AC3E}">
        <p14:creationId xmlns="" xmlns:p14="http://schemas.microsoft.com/office/powerpoint/2010/main" val="2083031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 txBox="1">
            <a:spLocks/>
          </p:cNvSpPr>
          <p:nvPr/>
        </p:nvSpPr>
        <p:spPr>
          <a:xfrm>
            <a:off x="611560" y="1916832"/>
            <a:ext cx="8031266" cy="562074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谢谢</a:t>
            </a:r>
            <a:r>
              <a:rPr lang="en-US" altLang="zh-CN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!</a:t>
            </a:r>
          </a:p>
          <a:p>
            <a:r>
              <a:rPr lang="zh-CN" altLang="en-US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请提出宝贵意见</a:t>
            </a:r>
            <a:r>
              <a:rPr lang="en-US" altLang="zh-CN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!</a:t>
            </a:r>
            <a:endParaRPr lang="zh-CN" altLang="en-US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16" y="571480"/>
            <a:ext cx="1945817" cy="54561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6380" y="1685309"/>
            <a:ext cx="1579472" cy="3315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右箭头 17"/>
          <p:cNvSpPr/>
          <p:nvPr/>
        </p:nvSpPr>
        <p:spPr>
          <a:xfrm>
            <a:off x="6215074" y="3071810"/>
            <a:ext cx="642942" cy="214315"/>
          </a:xfrm>
          <a:prstGeom prst="rightArrow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1400" b="0">
              <a:ea typeface="华文细黑" pitchFamily="2" charset="-122"/>
            </a:endParaRPr>
          </a:p>
        </p:txBody>
      </p:sp>
      <p:grpSp>
        <p:nvGrpSpPr>
          <p:cNvPr id="10" name="组合 9"/>
          <p:cNvGrpSpPr/>
          <p:nvPr/>
        </p:nvGrpSpPr>
        <p:grpSpPr>
          <a:xfrm>
            <a:off x="166290" y="2857496"/>
            <a:ext cx="4429156" cy="571504"/>
            <a:chOff x="357158" y="857232"/>
            <a:chExt cx="5890213" cy="683372"/>
          </a:xfrm>
        </p:grpSpPr>
        <p:pic>
          <p:nvPicPr>
            <p:cNvPr id="7" name="Picture 3" descr="C:\Users\zxf\Desktop\捕获.PN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7158" y="857232"/>
              <a:ext cx="5890213" cy="683372"/>
            </a:xfrm>
            <a:prstGeom prst="rect">
              <a:avLst/>
            </a:prstGeom>
            <a:noFill/>
            <a:ln>
              <a:solidFill>
                <a:schemeClr val="tx2"/>
              </a:solidFill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矩形 7"/>
            <p:cNvSpPr/>
            <p:nvPr/>
          </p:nvSpPr>
          <p:spPr>
            <a:xfrm>
              <a:off x="850891" y="1198918"/>
              <a:ext cx="2754798" cy="341686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矩形 8"/>
            <p:cNvSpPr/>
            <p:nvPr/>
          </p:nvSpPr>
          <p:spPr>
            <a:xfrm>
              <a:off x="4163380" y="1198918"/>
              <a:ext cx="906567" cy="341686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1" name="右箭头 10"/>
          <p:cNvSpPr/>
          <p:nvPr/>
        </p:nvSpPr>
        <p:spPr>
          <a:xfrm>
            <a:off x="4643438" y="3071810"/>
            <a:ext cx="642942" cy="214315"/>
          </a:xfrm>
          <a:prstGeom prst="rightArrow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1400" b="0" dirty="0">
              <a:ea typeface="华文细黑" pitchFamily="2" charset="-122"/>
            </a:endParaRPr>
          </a:p>
        </p:txBody>
      </p:sp>
      <p:sp>
        <p:nvSpPr>
          <p:cNvPr id="13" name="标题 1"/>
          <p:cNvSpPr txBox="1">
            <a:spLocks/>
          </p:cNvSpPr>
          <p:nvPr/>
        </p:nvSpPr>
        <p:spPr>
          <a:xfrm>
            <a:off x="755576" y="11723"/>
            <a:ext cx="7816952" cy="562074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zh-CN" sz="3200" dirty="0" smtClean="0">
                <a:latin typeface="微软雅黑" pitchFamily="34" charset="-122"/>
                <a:ea typeface="微软雅黑" pitchFamily="34" charset="-122"/>
              </a:rPr>
              <a:t>Wind</a:t>
            </a:r>
            <a:r>
              <a:rPr lang="zh-CN" altLang="en-US" sz="3200" dirty="0" smtClean="0">
                <a:latin typeface="微软雅黑" pitchFamily="34" charset="-122"/>
                <a:ea typeface="微软雅黑" pitchFamily="34" charset="-122"/>
              </a:rPr>
              <a:t>量化平台特点：跨市场，全品种</a:t>
            </a:r>
          </a:p>
          <a:p>
            <a:pPr algn="l"/>
            <a:endParaRPr lang="zh-CN" altLang="en-US" sz="3200" dirty="0" smtClean="0">
              <a:latin typeface="微软雅黑" pitchFamily="34" charset="-122"/>
              <a:ea typeface="微软雅黑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10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5984" y="857232"/>
            <a:ext cx="1736973" cy="52996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5555" y="851173"/>
            <a:ext cx="2335585" cy="45940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4876" y="5445224"/>
            <a:ext cx="1656184" cy="6340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标题 1"/>
          <p:cNvSpPr txBox="1">
            <a:spLocks/>
          </p:cNvSpPr>
          <p:nvPr/>
        </p:nvSpPr>
        <p:spPr>
          <a:xfrm>
            <a:off x="755576" y="11723"/>
            <a:ext cx="7602638" cy="562074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zh-CN" sz="3200" dirty="0" smtClean="0">
                <a:latin typeface="微软雅黑" pitchFamily="34" charset="-122"/>
                <a:ea typeface="微软雅黑" pitchFamily="34" charset="-122"/>
              </a:rPr>
              <a:t>Wind</a:t>
            </a:r>
            <a:r>
              <a:rPr lang="zh-CN" altLang="en-US" sz="3200" dirty="0" smtClean="0">
                <a:latin typeface="微软雅黑" pitchFamily="34" charset="-122"/>
                <a:ea typeface="微软雅黑" pitchFamily="34" charset="-122"/>
              </a:rPr>
              <a:t>量化平台特点：数据全，指标多</a:t>
            </a:r>
          </a:p>
          <a:p>
            <a:pPr algn="l"/>
            <a:endParaRPr lang="zh-CN" altLang="en-US" sz="3200" dirty="0" smtClean="0">
              <a:latin typeface="微软雅黑" pitchFamily="34" charset="-122"/>
              <a:ea typeface="微软雅黑" pitchFamily="34" charset="-122"/>
            </a:endParaRPr>
          </a:p>
          <a:p>
            <a:pPr algn="l"/>
            <a:endParaRPr lang="zh-CN" altLang="en-US" sz="3200" dirty="0" smtClean="0"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868096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矩形 11"/>
          <p:cNvSpPr/>
          <p:nvPr/>
        </p:nvSpPr>
        <p:spPr>
          <a:xfrm>
            <a:off x="1584056" y="1157318"/>
            <a:ext cx="698399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b="1" dirty="0" smtClean="0">
                <a:solidFill>
                  <a:srgbClr val="FF0000"/>
                </a:solidFill>
                <a:ea typeface="华文细黑" pitchFamily="2" charset="-122"/>
              </a:rPr>
              <a:t>多账户交易，方便管理</a:t>
            </a:r>
            <a:endParaRPr lang="zh-CN" altLang="en-US" sz="2400" b="1" dirty="0">
              <a:solidFill>
                <a:srgbClr val="FF0000"/>
              </a:solidFill>
              <a:ea typeface="华文细黑" pitchFamily="2" charset="-122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5220072" y="1992372"/>
            <a:ext cx="1296144" cy="431904"/>
          </a:xfrm>
          <a:prstGeom prst="rect">
            <a:avLst/>
          </a:prstGeom>
          <a:solidFill>
            <a:schemeClr val="accent1">
              <a:lumMod val="60000"/>
              <a:lumOff val="40000"/>
              <a:alpha val="43000"/>
            </a:schemeClr>
          </a:solidFill>
          <a:ln w="127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600" b="0" dirty="0" smtClean="0">
                <a:solidFill>
                  <a:schemeClr val="tx1"/>
                </a:solidFill>
                <a:ea typeface="华文细黑" pitchFamily="2" charset="-122"/>
              </a:rPr>
              <a:t>股票账户</a:t>
            </a:r>
            <a:r>
              <a:rPr lang="en-US" altLang="zh-CN" sz="1600" b="0" dirty="0" smtClean="0">
                <a:solidFill>
                  <a:schemeClr val="tx1"/>
                </a:solidFill>
                <a:ea typeface="华文细黑" pitchFamily="2" charset="-122"/>
              </a:rPr>
              <a:t>A</a:t>
            </a:r>
            <a:endParaRPr lang="en-US" altLang="zh-CN" sz="1600" b="0" dirty="0">
              <a:solidFill>
                <a:schemeClr val="tx1"/>
              </a:solidFill>
              <a:ea typeface="华文细黑" pitchFamily="2" charset="-122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5226641" y="2576676"/>
            <a:ext cx="1296144" cy="431904"/>
          </a:xfrm>
          <a:prstGeom prst="rect">
            <a:avLst/>
          </a:prstGeom>
          <a:solidFill>
            <a:schemeClr val="accent1">
              <a:lumMod val="60000"/>
              <a:lumOff val="40000"/>
              <a:alpha val="43000"/>
            </a:schemeClr>
          </a:solidFill>
          <a:ln w="127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600" b="0" dirty="0" smtClean="0">
                <a:solidFill>
                  <a:schemeClr val="tx1"/>
                </a:solidFill>
                <a:ea typeface="华文细黑" pitchFamily="2" charset="-122"/>
              </a:rPr>
              <a:t>股票账户</a:t>
            </a:r>
            <a:r>
              <a:rPr lang="en-US" altLang="zh-CN" sz="1600" b="0" dirty="0" smtClean="0">
                <a:solidFill>
                  <a:schemeClr val="tx1"/>
                </a:solidFill>
                <a:ea typeface="华文细黑" pitchFamily="2" charset="-122"/>
              </a:rPr>
              <a:t>B</a:t>
            </a:r>
            <a:endParaRPr lang="en-US" altLang="zh-CN" sz="1600" b="0" dirty="0">
              <a:solidFill>
                <a:schemeClr val="tx1"/>
              </a:solidFill>
              <a:ea typeface="华文细黑" pitchFamily="2" charset="-122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5226641" y="3168620"/>
            <a:ext cx="1296144" cy="431904"/>
          </a:xfrm>
          <a:prstGeom prst="rect">
            <a:avLst/>
          </a:prstGeom>
          <a:solidFill>
            <a:schemeClr val="accent1">
              <a:lumMod val="60000"/>
              <a:lumOff val="40000"/>
              <a:alpha val="43000"/>
            </a:schemeClr>
          </a:solidFill>
          <a:ln w="127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600" b="0" dirty="0" smtClean="0">
                <a:solidFill>
                  <a:schemeClr val="tx1"/>
                </a:solidFill>
                <a:ea typeface="华文细黑" pitchFamily="2" charset="-122"/>
              </a:rPr>
              <a:t>股票账户</a:t>
            </a:r>
            <a:r>
              <a:rPr lang="en-US" altLang="zh-CN" sz="1600" b="0" dirty="0" smtClean="0">
                <a:solidFill>
                  <a:schemeClr val="tx1"/>
                </a:solidFill>
                <a:ea typeface="华文细黑" pitchFamily="2" charset="-122"/>
              </a:rPr>
              <a:t>C</a:t>
            </a:r>
            <a:endParaRPr lang="en-US" altLang="zh-CN" sz="1600" b="0" dirty="0">
              <a:solidFill>
                <a:schemeClr val="tx1"/>
              </a:solidFill>
              <a:ea typeface="华文细黑" pitchFamily="2" charset="-122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5226641" y="4008452"/>
            <a:ext cx="1296144" cy="431904"/>
          </a:xfrm>
          <a:prstGeom prst="rect">
            <a:avLst/>
          </a:prstGeom>
          <a:solidFill>
            <a:schemeClr val="accent1">
              <a:lumMod val="60000"/>
              <a:lumOff val="40000"/>
              <a:alpha val="43000"/>
            </a:schemeClr>
          </a:solidFill>
          <a:ln w="127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600" b="0" dirty="0" smtClean="0">
                <a:solidFill>
                  <a:schemeClr val="tx1"/>
                </a:solidFill>
                <a:ea typeface="华文细黑" pitchFamily="2" charset="-122"/>
              </a:rPr>
              <a:t>期货账户</a:t>
            </a:r>
            <a:r>
              <a:rPr lang="en-US" altLang="zh-CN" sz="1600" dirty="0">
                <a:solidFill>
                  <a:schemeClr val="tx1"/>
                </a:solidFill>
                <a:ea typeface="华文细黑" pitchFamily="2" charset="-122"/>
              </a:rPr>
              <a:t>a</a:t>
            </a:r>
            <a:endParaRPr lang="en-US" altLang="zh-CN" sz="1600" b="0" dirty="0">
              <a:solidFill>
                <a:schemeClr val="tx1"/>
              </a:solidFill>
              <a:ea typeface="华文细黑" pitchFamily="2" charset="-122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5226641" y="4618616"/>
            <a:ext cx="1296144" cy="431904"/>
          </a:xfrm>
          <a:prstGeom prst="rect">
            <a:avLst/>
          </a:prstGeom>
          <a:solidFill>
            <a:schemeClr val="accent1">
              <a:lumMod val="60000"/>
              <a:lumOff val="40000"/>
              <a:alpha val="43000"/>
            </a:schemeClr>
          </a:solidFill>
          <a:ln w="127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600" b="0" dirty="0" smtClean="0">
                <a:solidFill>
                  <a:schemeClr val="tx1"/>
                </a:solidFill>
                <a:ea typeface="华文细黑" pitchFamily="2" charset="-122"/>
              </a:rPr>
              <a:t>期货账户</a:t>
            </a:r>
            <a:r>
              <a:rPr lang="en-US" altLang="zh-CN" sz="1600" b="0" dirty="0" smtClean="0">
                <a:solidFill>
                  <a:schemeClr val="tx1"/>
                </a:solidFill>
                <a:ea typeface="华文细黑" pitchFamily="2" charset="-122"/>
              </a:rPr>
              <a:t>b</a:t>
            </a:r>
            <a:endParaRPr lang="en-US" altLang="zh-CN" sz="1600" b="0" dirty="0">
              <a:solidFill>
                <a:schemeClr val="tx1"/>
              </a:solidFill>
              <a:ea typeface="华文细黑" pitchFamily="2" charset="-122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5231541" y="5229344"/>
            <a:ext cx="1296144" cy="431904"/>
          </a:xfrm>
          <a:prstGeom prst="rect">
            <a:avLst/>
          </a:prstGeom>
          <a:solidFill>
            <a:schemeClr val="accent1">
              <a:lumMod val="60000"/>
              <a:lumOff val="40000"/>
              <a:alpha val="43000"/>
            </a:schemeClr>
          </a:solidFill>
          <a:ln w="127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600" b="0" dirty="0" smtClean="0">
                <a:solidFill>
                  <a:schemeClr val="tx1"/>
                </a:solidFill>
                <a:ea typeface="华文细黑" pitchFamily="2" charset="-122"/>
              </a:rPr>
              <a:t>期货账户</a:t>
            </a:r>
            <a:r>
              <a:rPr lang="en-US" altLang="zh-CN" sz="1600" b="0" dirty="0" smtClean="0">
                <a:solidFill>
                  <a:schemeClr val="tx1"/>
                </a:solidFill>
                <a:ea typeface="华文细黑" pitchFamily="2" charset="-122"/>
              </a:rPr>
              <a:t>c</a:t>
            </a:r>
            <a:endParaRPr lang="en-US" altLang="zh-CN" sz="1600" b="0" dirty="0">
              <a:solidFill>
                <a:schemeClr val="tx1"/>
              </a:solidFill>
              <a:ea typeface="华文细黑" pitchFamily="2" charset="-122"/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2602696" y="2066620"/>
            <a:ext cx="1081087" cy="3524253"/>
          </a:xfrm>
          <a:prstGeom prst="rect">
            <a:avLst/>
          </a:prstGeom>
          <a:solidFill>
            <a:schemeClr val="bg1">
              <a:alpha val="43137"/>
            </a:schemeClr>
          </a:solidFill>
          <a:ln w="158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1400" b="0">
              <a:ea typeface="华文细黑" pitchFamily="2" charset="-122"/>
            </a:endParaRPr>
          </a:p>
        </p:txBody>
      </p:sp>
      <p:pic>
        <p:nvPicPr>
          <p:cNvPr id="17" name="Picture 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747158" y="4495512"/>
            <a:ext cx="806450" cy="433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7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818596" y="2138058"/>
            <a:ext cx="590550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8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747158" y="3344571"/>
            <a:ext cx="712788" cy="650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" name="Picture 2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6"/>
          <a:srcRect/>
          <a:stretch>
            <a:fillRect/>
          </a:stretch>
        </p:blipFill>
        <p:spPr bwMode="auto">
          <a:xfrm>
            <a:off x="2890034" y="2852438"/>
            <a:ext cx="433081" cy="4254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26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890034" y="3924008"/>
            <a:ext cx="439738" cy="458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TextBox 18"/>
          <p:cNvSpPr txBox="1">
            <a:spLocks noChangeArrowheads="1"/>
          </p:cNvSpPr>
          <p:nvPr/>
        </p:nvSpPr>
        <p:spPr bwMode="auto">
          <a:xfrm>
            <a:off x="3851920" y="3276122"/>
            <a:ext cx="100013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zh-CN" altLang="en-US" sz="1400" b="0" dirty="0" smtClean="0">
                <a:solidFill>
                  <a:srgbClr val="FF0000"/>
                </a:solidFill>
                <a:ea typeface="华文细黑" pitchFamily="2" charset="-122"/>
              </a:rPr>
              <a:t>交易</a:t>
            </a:r>
            <a:r>
              <a:rPr lang="zh-CN" altLang="en-US" sz="1400" b="0" dirty="0">
                <a:solidFill>
                  <a:srgbClr val="FF0000"/>
                </a:solidFill>
                <a:ea typeface="华文细黑" pitchFamily="2" charset="-122"/>
              </a:rPr>
              <a:t>接口</a:t>
            </a:r>
          </a:p>
        </p:txBody>
      </p:sp>
      <p:sp>
        <p:nvSpPr>
          <p:cNvPr id="23" name="右箭头 22"/>
          <p:cNvSpPr/>
          <p:nvPr/>
        </p:nvSpPr>
        <p:spPr>
          <a:xfrm>
            <a:off x="3922076" y="3650293"/>
            <a:ext cx="793940" cy="178454"/>
          </a:xfrm>
          <a:prstGeom prst="rightArrow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1400" b="0">
              <a:ea typeface="华文细黑" pitchFamily="2" charset="-122"/>
            </a:endParaRPr>
          </a:p>
        </p:txBody>
      </p:sp>
      <p:pic>
        <p:nvPicPr>
          <p:cNvPr id="24" name="Picture 24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2851938" y="5043772"/>
            <a:ext cx="609600" cy="4518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" name="左中括号 2"/>
          <p:cNvSpPr/>
          <p:nvPr/>
        </p:nvSpPr>
        <p:spPr>
          <a:xfrm>
            <a:off x="4932040" y="2138058"/>
            <a:ext cx="288032" cy="3307238"/>
          </a:xfrm>
          <a:prstGeom prst="leftBracket">
            <a:avLst>
              <a:gd name="adj" fmla="val 106015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标题 1"/>
          <p:cNvSpPr txBox="1">
            <a:spLocks/>
          </p:cNvSpPr>
          <p:nvPr/>
        </p:nvSpPr>
        <p:spPr>
          <a:xfrm>
            <a:off x="755576" y="11723"/>
            <a:ext cx="7816952" cy="562074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zh-CN" sz="3200" dirty="0" smtClean="0">
                <a:latin typeface="微软雅黑" pitchFamily="34" charset="-122"/>
                <a:ea typeface="微软雅黑" pitchFamily="34" charset="-122"/>
              </a:rPr>
              <a:t>Wind</a:t>
            </a:r>
            <a:r>
              <a:rPr lang="zh-CN" altLang="en-US" sz="3200" dirty="0" smtClean="0">
                <a:latin typeface="微软雅黑" pitchFamily="34" charset="-122"/>
                <a:ea typeface="微软雅黑" pitchFamily="34" charset="-122"/>
              </a:rPr>
              <a:t>量化平台特点</a:t>
            </a:r>
          </a:p>
          <a:p>
            <a:pPr algn="l"/>
            <a:endParaRPr lang="zh-CN" altLang="en-US" sz="3200" dirty="0" smtClean="0"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82278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矩形 11"/>
          <p:cNvSpPr/>
          <p:nvPr/>
        </p:nvSpPr>
        <p:spPr>
          <a:xfrm>
            <a:off x="1475656" y="1526215"/>
            <a:ext cx="698399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b="1" dirty="0" smtClean="0">
                <a:solidFill>
                  <a:srgbClr val="FF0000"/>
                </a:solidFill>
                <a:ea typeface="华文细黑" pitchFamily="2" charset="-122"/>
              </a:rPr>
              <a:t>支持与</a:t>
            </a:r>
            <a:r>
              <a:rPr lang="en-US" altLang="zh-CN" sz="2400" b="1" dirty="0" smtClean="0">
                <a:solidFill>
                  <a:srgbClr val="FF0000"/>
                </a:solidFill>
                <a:ea typeface="华文细黑" pitchFamily="2" charset="-122"/>
              </a:rPr>
              <a:t>WTTS</a:t>
            </a:r>
            <a:r>
              <a:rPr lang="zh-CN" altLang="en-US" sz="2400" b="1" dirty="0" smtClean="0">
                <a:solidFill>
                  <a:srgbClr val="FF0000"/>
                </a:solidFill>
                <a:ea typeface="华文细黑" pitchFamily="2" charset="-122"/>
              </a:rPr>
              <a:t>和</a:t>
            </a:r>
            <a:r>
              <a:rPr lang="en-US" altLang="zh-CN" sz="2400" b="1" dirty="0" smtClean="0">
                <a:solidFill>
                  <a:srgbClr val="FF0000"/>
                </a:solidFill>
                <a:ea typeface="华文细黑" pitchFamily="2" charset="-122"/>
              </a:rPr>
              <a:t>PMS</a:t>
            </a:r>
            <a:r>
              <a:rPr lang="zh-CN" altLang="en-US" sz="2400" b="1" dirty="0" smtClean="0">
                <a:solidFill>
                  <a:srgbClr val="FF0000"/>
                </a:solidFill>
                <a:ea typeface="华文细黑" pitchFamily="2" charset="-122"/>
              </a:rPr>
              <a:t>交互，最大限度逼近真实</a:t>
            </a:r>
            <a:endParaRPr lang="zh-CN" altLang="en-US" sz="2400" b="1" dirty="0">
              <a:solidFill>
                <a:srgbClr val="FF0000"/>
              </a:solidFill>
              <a:ea typeface="华文细黑" pitchFamily="2" charset="-122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4086886" y="2852936"/>
            <a:ext cx="1008000" cy="648000"/>
          </a:xfrm>
          <a:prstGeom prst="rect">
            <a:avLst/>
          </a:prstGeom>
          <a:solidFill>
            <a:schemeClr val="accent1">
              <a:lumMod val="60000"/>
              <a:lumOff val="40000"/>
              <a:alpha val="43000"/>
            </a:schemeClr>
          </a:solidFill>
          <a:ln w="127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CN" sz="1600" b="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WTTS</a:t>
            </a:r>
          </a:p>
          <a:p>
            <a:pPr algn="ctr">
              <a:defRPr/>
            </a:pPr>
            <a:r>
              <a:rPr lang="zh-CN" altLang="en-US" sz="1600" b="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模拟</a:t>
            </a:r>
            <a:r>
              <a:rPr lang="zh-CN" altLang="en-US" sz="1600" b="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交易</a:t>
            </a:r>
            <a:endParaRPr lang="en-US" altLang="zh-CN" sz="1600" b="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6516328" y="2852936"/>
            <a:ext cx="1008000" cy="648000"/>
          </a:xfrm>
          <a:prstGeom prst="rect">
            <a:avLst/>
          </a:prstGeom>
          <a:solidFill>
            <a:schemeClr val="accent1">
              <a:lumMod val="60000"/>
              <a:lumOff val="40000"/>
              <a:alpha val="43000"/>
            </a:schemeClr>
          </a:solidFill>
          <a:ln w="127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CN" sz="1600" b="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PMS</a:t>
            </a:r>
          </a:p>
          <a:p>
            <a:pPr algn="ctr">
              <a:defRPr/>
            </a:pPr>
            <a:r>
              <a:rPr lang="zh-CN" altLang="en-US" sz="1600" b="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组合管理</a:t>
            </a:r>
          </a:p>
        </p:txBody>
      </p:sp>
      <p:sp>
        <p:nvSpPr>
          <p:cNvPr id="7" name="右箭头 6"/>
          <p:cNvSpPr/>
          <p:nvPr/>
        </p:nvSpPr>
        <p:spPr>
          <a:xfrm>
            <a:off x="5491596" y="3069779"/>
            <a:ext cx="751710" cy="214314"/>
          </a:xfrm>
          <a:prstGeom prst="rightArrow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1400" b="0">
              <a:ea typeface="华文细黑" pitchFamily="2" charset="-122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1691680" y="2852936"/>
            <a:ext cx="1008000" cy="648000"/>
          </a:xfrm>
          <a:prstGeom prst="rect">
            <a:avLst/>
          </a:prstGeom>
          <a:solidFill>
            <a:schemeClr val="accent1">
              <a:lumMod val="60000"/>
              <a:lumOff val="40000"/>
              <a:alpha val="43000"/>
            </a:schemeClr>
          </a:solidFill>
          <a:ln w="127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CN" sz="1600" b="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Wind API</a:t>
            </a:r>
            <a:endParaRPr lang="en-US" altLang="zh-CN" sz="1600" b="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" name="右箭头 8"/>
          <p:cNvSpPr/>
          <p:nvPr/>
        </p:nvSpPr>
        <p:spPr>
          <a:xfrm>
            <a:off x="3059832" y="3068960"/>
            <a:ext cx="751710" cy="214314"/>
          </a:xfrm>
          <a:prstGeom prst="rightArrow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1400" b="0">
              <a:ea typeface="华文细黑" pitchFamily="2" charset="-122"/>
            </a:endParaRPr>
          </a:p>
        </p:txBody>
      </p:sp>
      <p:sp>
        <p:nvSpPr>
          <p:cNvPr id="2" name="下弧形箭头 1"/>
          <p:cNvSpPr/>
          <p:nvPr/>
        </p:nvSpPr>
        <p:spPr>
          <a:xfrm>
            <a:off x="2195680" y="3597206"/>
            <a:ext cx="5040616" cy="1127938"/>
          </a:xfrm>
          <a:prstGeom prst="curvedUpArrow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0" name="标题 1"/>
          <p:cNvSpPr txBox="1">
            <a:spLocks/>
          </p:cNvSpPr>
          <p:nvPr/>
        </p:nvSpPr>
        <p:spPr>
          <a:xfrm>
            <a:off x="755576" y="11723"/>
            <a:ext cx="7816952" cy="562074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zh-CN" sz="3200" dirty="0" smtClean="0">
                <a:latin typeface="微软雅黑" pitchFamily="34" charset="-122"/>
                <a:ea typeface="微软雅黑" pitchFamily="34" charset="-122"/>
              </a:rPr>
              <a:t>Wind</a:t>
            </a:r>
            <a:r>
              <a:rPr lang="zh-CN" altLang="en-US" sz="3200" dirty="0" smtClean="0">
                <a:latin typeface="微软雅黑" pitchFamily="34" charset="-122"/>
                <a:ea typeface="微软雅黑" pitchFamily="34" charset="-122"/>
              </a:rPr>
              <a:t>量化平台特点</a:t>
            </a:r>
          </a:p>
          <a:p>
            <a:pPr algn="l"/>
            <a:endParaRPr lang="zh-CN" altLang="en-US" sz="3200" dirty="0" smtClean="0"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9045686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9" grpId="0" animBg="1"/>
      <p:bldP spid="2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图示 4"/>
          <p:cNvGraphicFramePr/>
          <p:nvPr>
            <p:extLst>
              <p:ext uri="{D42A27DB-BD31-4B8C-83A1-F6EECF244321}">
                <p14:modId xmlns="" xmlns:p14="http://schemas.microsoft.com/office/powerpoint/2010/main" val="1470514490"/>
              </p:ext>
            </p:extLst>
          </p:nvPr>
        </p:nvGraphicFramePr>
        <p:xfrm>
          <a:off x="1285852" y="1071546"/>
          <a:ext cx="6834214" cy="48180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标题 1"/>
          <p:cNvSpPr txBox="1">
            <a:spLocks/>
          </p:cNvSpPr>
          <p:nvPr/>
        </p:nvSpPr>
        <p:spPr>
          <a:xfrm>
            <a:off x="755576" y="11723"/>
            <a:ext cx="4104456" cy="562074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zh-CN" sz="3200" dirty="0" smtClean="0">
                <a:latin typeface="微软雅黑" pitchFamily="34" charset="-122"/>
                <a:ea typeface="微软雅黑" pitchFamily="34" charset="-122"/>
              </a:rPr>
              <a:t>Wind</a:t>
            </a:r>
            <a:r>
              <a:rPr lang="zh-CN" altLang="en-US" sz="3200" dirty="0" smtClean="0">
                <a:latin typeface="微软雅黑" pitchFamily="34" charset="-122"/>
                <a:ea typeface="微软雅黑" pitchFamily="34" charset="-122"/>
              </a:rPr>
              <a:t>量化平台</a:t>
            </a:r>
          </a:p>
        </p:txBody>
      </p:sp>
    </p:spTree>
    <p:extLst>
      <p:ext uri="{BB962C8B-B14F-4D97-AF65-F5344CB8AC3E}">
        <p14:creationId xmlns="" xmlns:p14="http://schemas.microsoft.com/office/powerpoint/2010/main" val="35813592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oes9gKP0yHOh43xEDFD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oes9gKP0yHOh43xEDFDA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879</TotalTime>
  <Words>1553</Words>
  <Application>Microsoft Office PowerPoint</Application>
  <PresentationFormat>全屏显示(4:3)</PresentationFormat>
  <Paragraphs>303</Paragraphs>
  <Slides>48</Slides>
  <Notes>3</Notes>
  <HiddenSlides>0</HiddenSlides>
  <MMClips>0</MMClips>
  <ScaleCrop>false</ScaleCrop>
  <HeadingPairs>
    <vt:vector size="6" baseType="variant"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48</vt:i4>
      </vt:variant>
    </vt:vector>
  </HeadingPairs>
  <TitlesOfParts>
    <vt:vector size="50" baseType="lpstr">
      <vt:lpstr>Office 主题</vt:lpstr>
      <vt:lpstr>包装程序外壳对象</vt:lpstr>
      <vt:lpstr>幻灯片 1</vt:lpstr>
      <vt:lpstr>幻灯片 2</vt:lpstr>
      <vt:lpstr>幻灯片 3</vt:lpstr>
      <vt:lpstr>幻灯片 4</vt:lpstr>
      <vt:lpstr>幻灯片 5</vt:lpstr>
      <vt:lpstr>幻灯片 6</vt:lpstr>
      <vt:lpstr>幻灯片 7</vt:lpstr>
      <vt:lpstr>幻灯片 8</vt:lpstr>
      <vt:lpstr>幻灯片 9</vt:lpstr>
      <vt:lpstr>幻灯片 10</vt:lpstr>
      <vt:lpstr>幻灯片 11</vt:lpstr>
      <vt:lpstr>幻灯片 12</vt:lpstr>
      <vt:lpstr>幻灯片 13</vt:lpstr>
      <vt:lpstr>幻灯片 14</vt:lpstr>
      <vt:lpstr>幻灯片 15</vt:lpstr>
      <vt:lpstr>幻灯片 16</vt:lpstr>
      <vt:lpstr>幻灯片 17</vt:lpstr>
      <vt:lpstr>幻灯片 18</vt:lpstr>
      <vt:lpstr>幻灯片 19</vt:lpstr>
      <vt:lpstr>幻灯片 20</vt:lpstr>
      <vt:lpstr>幻灯片 21</vt:lpstr>
      <vt:lpstr>幻灯片 22</vt:lpstr>
      <vt:lpstr>幻灯片 23</vt:lpstr>
      <vt:lpstr>幻灯片 24</vt:lpstr>
      <vt:lpstr>幻灯片 25</vt:lpstr>
      <vt:lpstr>幻灯片 26</vt:lpstr>
      <vt:lpstr>幻灯片 27</vt:lpstr>
      <vt:lpstr>幻灯片 28</vt:lpstr>
      <vt:lpstr>幻灯片 29</vt:lpstr>
      <vt:lpstr>幻灯片 30</vt:lpstr>
      <vt:lpstr>幻灯片 31</vt:lpstr>
      <vt:lpstr>幻灯片 32</vt:lpstr>
      <vt:lpstr>幻灯片 33</vt:lpstr>
      <vt:lpstr>幻灯片 34</vt:lpstr>
      <vt:lpstr>幻灯片 35</vt:lpstr>
      <vt:lpstr>幻灯片 36</vt:lpstr>
      <vt:lpstr>幻灯片 37</vt:lpstr>
      <vt:lpstr>幻灯片 38</vt:lpstr>
      <vt:lpstr>幻灯片 39</vt:lpstr>
      <vt:lpstr>幻灯片 40</vt:lpstr>
      <vt:lpstr>幻灯片 41</vt:lpstr>
      <vt:lpstr>幻灯片 42</vt:lpstr>
      <vt:lpstr>幻灯片 43</vt:lpstr>
      <vt:lpstr>幻灯片 44</vt:lpstr>
      <vt:lpstr>幻灯片 45</vt:lpstr>
      <vt:lpstr>幻灯片 46</vt:lpstr>
      <vt:lpstr>幻灯片 47</vt:lpstr>
      <vt:lpstr>幻灯片 48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幻灯片 1</dc:title>
  <dc:creator>yping</dc:creator>
  <cp:lastModifiedBy>wind</cp:lastModifiedBy>
  <cp:revision>584</cp:revision>
  <dcterms:created xsi:type="dcterms:W3CDTF">2014-03-05T06:08:26Z</dcterms:created>
  <dcterms:modified xsi:type="dcterms:W3CDTF">2014-12-16T07:29:40Z</dcterms:modified>
</cp:coreProperties>
</file>